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5.xml" ContentType="application/vnd.openxmlformats-officedocument.presentationml.notesSlide+xml"/>
  <Override PartName="/ppt/charts/chart6.xml" ContentType="application/vnd.openxmlformats-officedocument.drawingml.chart+xml"/>
  <Override PartName="/ppt/notesSlides/notesSlide16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68" r:id="rId6"/>
  </p:sldMasterIdLst>
  <p:notesMasterIdLst>
    <p:notesMasterId r:id="rId28"/>
  </p:notesMasterIdLst>
  <p:sldIdLst>
    <p:sldId id="661" r:id="rId7"/>
    <p:sldId id="662" r:id="rId8"/>
    <p:sldId id="716" r:id="rId9"/>
    <p:sldId id="333" r:id="rId10"/>
    <p:sldId id="708" r:id="rId11"/>
    <p:sldId id="709" r:id="rId12"/>
    <p:sldId id="710" r:id="rId13"/>
    <p:sldId id="711" r:id="rId14"/>
    <p:sldId id="705" r:id="rId15"/>
    <p:sldId id="722" r:id="rId16"/>
    <p:sldId id="713" r:id="rId17"/>
    <p:sldId id="723" r:id="rId18"/>
    <p:sldId id="724" r:id="rId19"/>
    <p:sldId id="725" r:id="rId20"/>
    <p:sldId id="726" r:id="rId21"/>
    <p:sldId id="727" r:id="rId22"/>
    <p:sldId id="728" r:id="rId23"/>
    <p:sldId id="731" r:id="rId24"/>
    <p:sldId id="335" r:id="rId25"/>
    <p:sldId id="730" r:id="rId26"/>
    <p:sldId id="270" r:id="rId27"/>
  </p:sldIdLst>
  <p:sldSz cx="12192000" cy="6858000"/>
  <p:notesSz cx="6797675" cy="9929813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odulo 1" id="{72523FDD-3FA1-457F-9289-6938B986960C}">
          <p14:sldIdLst>
            <p14:sldId id="661"/>
            <p14:sldId id="662"/>
            <p14:sldId id="716"/>
            <p14:sldId id="333"/>
            <p14:sldId id="708"/>
            <p14:sldId id="709"/>
            <p14:sldId id="710"/>
            <p14:sldId id="711"/>
            <p14:sldId id="705"/>
            <p14:sldId id="722"/>
            <p14:sldId id="713"/>
            <p14:sldId id="723"/>
            <p14:sldId id="724"/>
            <p14:sldId id="725"/>
            <p14:sldId id="726"/>
            <p14:sldId id="727"/>
            <p14:sldId id="728"/>
            <p14:sldId id="731"/>
            <p14:sldId id="335"/>
            <p14:sldId id="730"/>
            <p14:sldId id="2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E56C1C-AFDE-7A1E-9356-8E3E5B0A6BC8}" name="Rossi, Flavia" initials="RF" userId="S::flaviarossi@kpmg.it::8dc1e8dd-c791-47bd-880d-50f89b3b999c" providerId="AD"/>
  <p188:author id="{6EA5763E-E865-54E1-520A-A1C316649DEE}" name="Pigoni, Federica" initials="PF" userId="S::fpigoni@KPMG.IT::5b98865d-aae9-45e4-90e8-c00ca68e335e" providerId="AD"/>
  <p188:author id="{638274DC-4BFB-EF36-466A-601FF81FC1D1}" name="Pigoni, Federica" initials="FP" userId="S::fpigoni@kpmg.it::5b98865d-aae9-45e4-90e8-c00ca68e335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776"/>
    <a:srgbClr val="006643"/>
    <a:srgbClr val="EFF4FF"/>
    <a:srgbClr val="D5D5D5"/>
    <a:srgbClr val="003296"/>
    <a:srgbClr val="D12A48"/>
    <a:srgbClr val="D8D8D8"/>
    <a:srgbClr val="E7EFFF"/>
    <a:srgbClr val="CDF3FF"/>
    <a:srgbClr val="DD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081016-0FA0-49B6-9A6C-79FFF18FBD5F}" v="3187" dt="2026-05-12T15:20:08.305"/>
    <p1510:client id="{9555ECD3-48D2-46DC-A8A0-79F142F5128B}" v="11502" dt="2026-05-12T13:42:15.182"/>
    <p1510:client id="{A621D63B-9069-4B52-B98D-BB2128D88937}" v="4006" dt="2026-05-12T15:21:31.577"/>
    <p1510:client id="{F525334C-DF9E-4B6D-8461-E6EB302110D1}" v="862" dt="2026-05-12T15:01:34.0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929F9F4-4A8F-4326-A1B4-22849713DDAB}" styleName="Stile scuro 1 - Colore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Stile con tema 1 - Color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Stile chiaro 2 - Colore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iacci, Aurelia" userId="f09834df-1e97-41e8-bd21-3860a284c5fc" providerId="ADAL" clId="{18FFE5A7-A348-4058-82CE-F26E60DB0D95}"/>
    <pc:docChg chg="undo redo custSel addSld delSld modSld sldOrd modSection">
      <pc:chgData name="Ciacci, Aurelia" userId="f09834df-1e97-41e8-bd21-3860a284c5fc" providerId="ADAL" clId="{18FFE5A7-A348-4058-82CE-F26E60DB0D95}" dt="2026-05-12T13:42:15.182" v="22085" actId="404"/>
      <pc:docMkLst>
        <pc:docMk/>
      </pc:docMkLst>
      <pc:sldChg chg="modSp add del mod modNotes">
        <pc:chgData name="Ciacci, Aurelia" userId="f09834df-1e97-41e8-bd21-3860a284c5fc" providerId="ADAL" clId="{18FFE5A7-A348-4058-82CE-F26E60DB0D95}" dt="2026-05-11T13:40:01.561" v="11535" actId="47"/>
        <pc:sldMkLst>
          <pc:docMk/>
          <pc:sldMk cId="1363890484" sldId="256"/>
        </pc:sldMkLst>
        <pc:spChg chg="mod">
          <ac:chgData name="Ciacci, Aurelia" userId="f09834df-1e97-41e8-bd21-3860a284c5fc" providerId="ADAL" clId="{18FFE5A7-A348-4058-82CE-F26E60DB0D95}" dt="2026-05-11T13:26:12.703" v="11150" actId="27636"/>
          <ac:spMkLst>
            <pc:docMk/>
            <pc:sldMk cId="1363890484" sldId="256"/>
            <ac:spMk id="2" creationId="{CA31C7E9-627D-31CB-FE00-A766B408E9A0}"/>
          </ac:spMkLst>
        </pc:spChg>
        <pc:spChg chg="mod">
          <ac:chgData name="Ciacci, Aurelia" userId="f09834df-1e97-41e8-bd21-3860a284c5fc" providerId="ADAL" clId="{18FFE5A7-A348-4058-82CE-F26E60DB0D95}" dt="2026-05-11T13:26:12.291" v="11132" actId="790"/>
          <ac:spMkLst>
            <pc:docMk/>
            <pc:sldMk cId="1363890484" sldId="256"/>
            <ac:spMk id="3" creationId="{B9016C3F-B36A-99F7-02A5-99E49159825A}"/>
          </ac:spMkLst>
        </pc:spChg>
        <pc:spChg chg="mod">
          <ac:chgData name="Ciacci, Aurelia" userId="f09834df-1e97-41e8-bd21-3860a284c5fc" providerId="ADAL" clId="{18FFE5A7-A348-4058-82CE-F26E60DB0D95}" dt="2026-05-11T13:26:12.292" v="11133" actId="790"/>
          <ac:spMkLst>
            <pc:docMk/>
            <pc:sldMk cId="1363890484" sldId="256"/>
            <ac:spMk id="4" creationId="{63DE92F6-888C-DAA1-3039-9C031934007A}"/>
          </ac:spMkLst>
        </pc:spChg>
        <pc:spChg chg="mod">
          <ac:chgData name="Ciacci, Aurelia" userId="f09834df-1e97-41e8-bd21-3860a284c5fc" providerId="ADAL" clId="{18FFE5A7-A348-4058-82CE-F26E60DB0D95}" dt="2026-05-11T13:26:12.293" v="11134" actId="790"/>
          <ac:spMkLst>
            <pc:docMk/>
            <pc:sldMk cId="1363890484" sldId="256"/>
            <ac:spMk id="5" creationId="{3F045799-5387-6A58-1CA9-25790BFAC075}"/>
          </ac:spMkLst>
        </pc:spChg>
        <pc:spChg chg="mod">
          <ac:chgData name="Ciacci, Aurelia" userId="f09834df-1e97-41e8-bd21-3860a284c5fc" providerId="ADAL" clId="{18FFE5A7-A348-4058-82CE-F26E60DB0D95}" dt="2026-05-11T13:26:12.360" v="11144" actId="790"/>
          <ac:spMkLst>
            <pc:docMk/>
            <pc:sldMk cId="1363890484" sldId="256"/>
            <ac:spMk id="6" creationId="{32816F63-CFFE-BA80-E8E2-93358A919A86}"/>
          </ac:spMkLst>
        </pc:spChg>
        <pc:spChg chg="mod">
          <ac:chgData name="Ciacci, Aurelia" userId="f09834df-1e97-41e8-bd21-3860a284c5fc" providerId="ADAL" clId="{18FFE5A7-A348-4058-82CE-F26E60DB0D95}" dt="2026-05-11T13:26:12.366" v="11145" actId="790"/>
          <ac:spMkLst>
            <pc:docMk/>
            <pc:sldMk cId="1363890484" sldId="256"/>
            <ac:spMk id="7" creationId="{9E5FCF2E-79A4-FF9D-4172-41A7A7EDDFD1}"/>
          </ac:spMkLst>
        </pc:spChg>
        <pc:spChg chg="mod">
          <ac:chgData name="Ciacci, Aurelia" userId="f09834df-1e97-41e8-bd21-3860a284c5fc" providerId="ADAL" clId="{18FFE5A7-A348-4058-82CE-F26E60DB0D95}" dt="2026-05-11T13:26:12.370" v="11146" actId="790"/>
          <ac:spMkLst>
            <pc:docMk/>
            <pc:sldMk cId="1363890484" sldId="256"/>
            <ac:spMk id="8" creationId="{6B756521-5F81-5EA9-7BE5-3BEBE936D9D5}"/>
          </ac:spMkLst>
        </pc:spChg>
        <pc:spChg chg="mod">
          <ac:chgData name="Ciacci, Aurelia" userId="f09834df-1e97-41e8-bd21-3860a284c5fc" providerId="ADAL" clId="{18FFE5A7-A348-4058-82CE-F26E60DB0D95}" dt="2026-05-11T13:26:12.294" v="11135" actId="790"/>
          <ac:spMkLst>
            <pc:docMk/>
            <pc:sldMk cId="1363890484" sldId="256"/>
            <ac:spMk id="9" creationId="{3EA26E69-A6DF-BB22-1015-C61B08A3666B}"/>
          </ac:spMkLst>
        </pc:spChg>
        <pc:spChg chg="mod">
          <ac:chgData name="Ciacci, Aurelia" userId="f09834df-1e97-41e8-bd21-3860a284c5fc" providerId="ADAL" clId="{18FFE5A7-A348-4058-82CE-F26E60DB0D95}" dt="2026-05-11T13:26:12.296" v="11136" actId="790"/>
          <ac:spMkLst>
            <pc:docMk/>
            <pc:sldMk cId="1363890484" sldId="256"/>
            <ac:spMk id="10" creationId="{9D29AEBC-11E4-3DB7-4770-E0E1CD40F78E}"/>
          </ac:spMkLst>
        </pc:spChg>
        <pc:spChg chg="mod">
          <ac:chgData name="Ciacci, Aurelia" userId="f09834df-1e97-41e8-bd21-3860a284c5fc" providerId="ADAL" clId="{18FFE5A7-A348-4058-82CE-F26E60DB0D95}" dt="2026-05-11T13:26:12.298" v="11137" actId="790"/>
          <ac:spMkLst>
            <pc:docMk/>
            <pc:sldMk cId="1363890484" sldId="256"/>
            <ac:spMk id="11" creationId="{17A3270C-0E47-50EE-0B5C-7E0DAC90C870}"/>
          </ac:spMkLst>
        </pc:spChg>
        <pc:spChg chg="mod">
          <ac:chgData name="Ciacci, Aurelia" userId="f09834df-1e97-41e8-bd21-3860a284c5fc" providerId="ADAL" clId="{18FFE5A7-A348-4058-82CE-F26E60DB0D95}" dt="2026-05-11T13:26:12.317" v="11138" actId="790"/>
          <ac:spMkLst>
            <pc:docMk/>
            <pc:sldMk cId="1363890484" sldId="256"/>
            <ac:spMk id="12" creationId="{5A26946C-F66E-0240-1966-99D153C9A85E}"/>
          </ac:spMkLst>
        </pc:spChg>
        <pc:spChg chg="mod">
          <ac:chgData name="Ciacci, Aurelia" userId="f09834df-1e97-41e8-bd21-3860a284c5fc" providerId="ADAL" clId="{18FFE5A7-A348-4058-82CE-F26E60DB0D95}" dt="2026-05-11T13:26:12.335" v="11139" actId="790"/>
          <ac:spMkLst>
            <pc:docMk/>
            <pc:sldMk cId="1363890484" sldId="256"/>
            <ac:spMk id="13" creationId="{58352BE6-8804-47C8-4157-72780C151597}"/>
          </ac:spMkLst>
        </pc:spChg>
        <pc:spChg chg="mod">
          <ac:chgData name="Ciacci, Aurelia" userId="f09834df-1e97-41e8-bd21-3860a284c5fc" providerId="ADAL" clId="{18FFE5A7-A348-4058-82CE-F26E60DB0D95}" dt="2026-05-11T13:26:12.352" v="11140" actId="790"/>
          <ac:spMkLst>
            <pc:docMk/>
            <pc:sldMk cId="1363890484" sldId="256"/>
            <ac:spMk id="14" creationId="{69ADA819-AA80-81B1-2CF1-0BA6180C1E74}"/>
          </ac:spMkLst>
        </pc:spChg>
        <pc:spChg chg="mod">
          <ac:chgData name="Ciacci, Aurelia" userId="f09834df-1e97-41e8-bd21-3860a284c5fc" providerId="ADAL" clId="{18FFE5A7-A348-4058-82CE-F26E60DB0D95}" dt="2026-05-11T13:26:12.354" v="11141" actId="790"/>
          <ac:spMkLst>
            <pc:docMk/>
            <pc:sldMk cId="1363890484" sldId="256"/>
            <ac:spMk id="15" creationId="{C0B1C999-1B42-E0FE-F34E-60444B1202E1}"/>
          </ac:spMkLst>
        </pc:spChg>
        <pc:spChg chg="mod">
          <ac:chgData name="Ciacci, Aurelia" userId="f09834df-1e97-41e8-bd21-3860a284c5fc" providerId="ADAL" clId="{18FFE5A7-A348-4058-82CE-F26E60DB0D95}" dt="2026-05-11T13:26:12.355" v="11142" actId="790"/>
          <ac:spMkLst>
            <pc:docMk/>
            <pc:sldMk cId="1363890484" sldId="256"/>
            <ac:spMk id="16" creationId="{90BF04F3-891D-4B26-B418-3FC14F416477}"/>
          </ac:spMkLst>
        </pc:spChg>
        <pc:spChg chg="mod">
          <ac:chgData name="Ciacci, Aurelia" userId="f09834df-1e97-41e8-bd21-3860a284c5fc" providerId="ADAL" clId="{18FFE5A7-A348-4058-82CE-F26E60DB0D95}" dt="2026-05-11T13:26:12.357" v="11143" actId="790"/>
          <ac:spMkLst>
            <pc:docMk/>
            <pc:sldMk cId="1363890484" sldId="256"/>
            <ac:spMk id="17" creationId="{09427E2B-8C27-7E1D-7C73-FEEF16C9E859}"/>
          </ac:spMkLst>
        </pc:spChg>
      </pc:sldChg>
      <pc:sldChg chg="modSp mod">
        <pc:chgData name="Ciacci, Aurelia" userId="f09834df-1e97-41e8-bd21-3860a284c5fc" providerId="ADAL" clId="{18FFE5A7-A348-4058-82CE-F26E60DB0D95}" dt="2026-05-07T16:06:09.111" v="8949" actId="20577"/>
        <pc:sldMkLst>
          <pc:docMk/>
          <pc:sldMk cId="1317860926" sldId="333"/>
        </pc:sldMkLst>
        <pc:spChg chg="mod">
          <ac:chgData name="Ciacci, Aurelia" userId="f09834df-1e97-41e8-bd21-3860a284c5fc" providerId="ADAL" clId="{18FFE5A7-A348-4058-82CE-F26E60DB0D95}" dt="2026-05-07T16:06:09.111" v="8949" actId="20577"/>
          <ac:spMkLst>
            <pc:docMk/>
            <pc:sldMk cId="1317860926" sldId="333"/>
            <ac:spMk id="100" creationId="{14A4A423-B70B-91B4-66F7-F34F2507EB77}"/>
          </ac:spMkLst>
        </pc:spChg>
      </pc:sldChg>
      <pc:sldChg chg="addSp delSp modSp mod modNotesTx">
        <pc:chgData name="Ciacci, Aurelia" userId="f09834df-1e97-41e8-bd21-3860a284c5fc" providerId="ADAL" clId="{18FFE5A7-A348-4058-82CE-F26E60DB0D95}" dt="2026-05-11T14:16:38.313" v="13148" actId="1035"/>
        <pc:sldMkLst>
          <pc:docMk/>
          <pc:sldMk cId="1355272018" sldId="705"/>
        </pc:sldMkLst>
        <pc:spChg chg="mod">
          <ac:chgData name="Ciacci, Aurelia" userId="f09834df-1e97-41e8-bd21-3860a284c5fc" providerId="ADAL" clId="{18FFE5A7-A348-4058-82CE-F26E60DB0D95}" dt="2026-05-07T16:26:35.312" v="9771" actId="20577"/>
          <ac:spMkLst>
            <pc:docMk/>
            <pc:sldMk cId="1355272018" sldId="705"/>
            <ac:spMk id="4" creationId="{6843C7FB-E800-2E6F-02C9-4F91E25EB85E}"/>
          </ac:spMkLst>
        </pc:spChg>
        <pc:spChg chg="add mod">
          <ac:chgData name="Ciacci, Aurelia" userId="f09834df-1e97-41e8-bd21-3860a284c5fc" providerId="ADAL" clId="{18FFE5A7-A348-4058-82CE-F26E60DB0D95}" dt="2026-05-06T16:34:22.344" v="8"/>
          <ac:spMkLst>
            <pc:docMk/>
            <pc:sldMk cId="1355272018" sldId="705"/>
            <ac:spMk id="5" creationId="{AC22089A-99C6-8A0E-652B-7EFFFFB5F98D}"/>
          </ac:spMkLst>
        </pc:spChg>
        <pc:spChg chg="add mod">
          <ac:chgData name="Ciacci, Aurelia" userId="f09834df-1e97-41e8-bd21-3860a284c5fc" providerId="ADAL" clId="{18FFE5A7-A348-4058-82CE-F26E60DB0D95}" dt="2026-05-07T16:26:40.841" v="9788" actId="1035"/>
          <ac:spMkLst>
            <pc:docMk/>
            <pc:sldMk cId="1355272018" sldId="705"/>
            <ac:spMk id="9" creationId="{B5251CEF-3A25-70C4-B42C-5769993329D8}"/>
          </ac:spMkLst>
        </pc:spChg>
        <pc:spChg chg="add mod">
          <ac:chgData name="Ciacci, Aurelia" userId="f09834df-1e97-41e8-bd21-3860a284c5fc" providerId="ADAL" clId="{18FFE5A7-A348-4058-82CE-F26E60DB0D95}" dt="2026-05-07T16:26:40.841" v="9788" actId="1035"/>
          <ac:spMkLst>
            <pc:docMk/>
            <pc:sldMk cId="1355272018" sldId="705"/>
            <ac:spMk id="10" creationId="{FD6F9FB3-AD19-F532-E01E-49DE82C1DBD3}"/>
          </ac:spMkLst>
        </pc:spChg>
        <pc:spChg chg="add mod">
          <ac:chgData name="Ciacci, Aurelia" userId="f09834df-1e97-41e8-bd21-3860a284c5fc" providerId="ADAL" clId="{18FFE5A7-A348-4058-82CE-F26E60DB0D95}" dt="2026-05-07T16:26:40.841" v="9788" actId="1035"/>
          <ac:spMkLst>
            <pc:docMk/>
            <pc:sldMk cId="1355272018" sldId="705"/>
            <ac:spMk id="11" creationId="{3016CF06-14D7-FA2F-7D75-20A511450F72}"/>
          </ac:spMkLst>
        </pc:spChg>
        <pc:spChg chg="add mod">
          <ac:chgData name="Ciacci, Aurelia" userId="f09834df-1e97-41e8-bd21-3860a284c5fc" providerId="ADAL" clId="{18FFE5A7-A348-4058-82CE-F26E60DB0D95}" dt="2026-05-07T16:26:40.841" v="9788" actId="1035"/>
          <ac:spMkLst>
            <pc:docMk/>
            <pc:sldMk cId="1355272018" sldId="705"/>
            <ac:spMk id="12" creationId="{BDFA9204-E10E-F222-863F-90B3BD3CD90B}"/>
          </ac:spMkLst>
        </pc:spChg>
        <pc:spChg chg="add mod">
          <ac:chgData name="Ciacci, Aurelia" userId="f09834df-1e97-41e8-bd21-3860a284c5fc" providerId="ADAL" clId="{18FFE5A7-A348-4058-82CE-F26E60DB0D95}" dt="2026-05-07T16:26:40.841" v="9788" actId="1035"/>
          <ac:spMkLst>
            <pc:docMk/>
            <pc:sldMk cId="1355272018" sldId="705"/>
            <ac:spMk id="13" creationId="{A9E0301E-8FAE-9F78-EBEC-045C8B6FE2CC}"/>
          </ac:spMkLst>
        </pc:spChg>
        <pc:spChg chg="add mod">
          <ac:chgData name="Ciacci, Aurelia" userId="f09834df-1e97-41e8-bd21-3860a284c5fc" providerId="ADAL" clId="{18FFE5A7-A348-4058-82CE-F26E60DB0D95}" dt="2026-05-11T14:16:38.313" v="13148" actId="1035"/>
          <ac:spMkLst>
            <pc:docMk/>
            <pc:sldMk cId="1355272018" sldId="705"/>
            <ac:spMk id="14" creationId="{E11C3433-DE41-18CF-6330-130240E255B5}"/>
          </ac:spMkLst>
        </pc:spChg>
        <pc:spChg chg="add mod">
          <ac:chgData name="Ciacci, Aurelia" userId="f09834df-1e97-41e8-bd21-3860a284c5fc" providerId="ADAL" clId="{18FFE5A7-A348-4058-82CE-F26E60DB0D95}" dt="2026-05-07T16:26:48.983" v="9823" actId="1035"/>
          <ac:spMkLst>
            <pc:docMk/>
            <pc:sldMk cId="1355272018" sldId="705"/>
            <ac:spMk id="15" creationId="{0F9A5A8C-D3E6-AAA0-D62A-0993AC1A782F}"/>
          </ac:spMkLst>
        </pc:spChg>
        <pc:spChg chg="add mod">
          <ac:chgData name="Ciacci, Aurelia" userId="f09834df-1e97-41e8-bd21-3860a284c5fc" providerId="ADAL" clId="{18FFE5A7-A348-4058-82CE-F26E60DB0D95}" dt="2026-05-07T16:26:50.623" v="9826" actId="1035"/>
          <ac:spMkLst>
            <pc:docMk/>
            <pc:sldMk cId="1355272018" sldId="705"/>
            <ac:spMk id="16" creationId="{A6EC2C70-FC9C-D351-9DE7-71CD7B4A1600}"/>
          </ac:spMkLst>
        </pc:spChg>
      </pc:sldChg>
      <pc:sldChg chg="addSp delSp modSp del mod">
        <pc:chgData name="Ciacci, Aurelia" userId="f09834df-1e97-41e8-bd21-3860a284c5fc" providerId="ADAL" clId="{18FFE5A7-A348-4058-82CE-F26E60DB0D95}" dt="2026-05-11T16:27:01.267" v="22073" actId="47"/>
        <pc:sldMkLst>
          <pc:docMk/>
          <pc:sldMk cId="3670133537" sldId="707"/>
        </pc:sldMkLst>
        <pc:spChg chg="add mod">
          <ac:chgData name="Ciacci, Aurelia" userId="f09834df-1e97-41e8-bd21-3860a284c5fc" providerId="ADAL" clId="{18FFE5A7-A348-4058-82CE-F26E60DB0D95}" dt="2026-05-11T14:36:02.812" v="13988" actId="20577"/>
          <ac:spMkLst>
            <pc:docMk/>
            <pc:sldMk cId="3670133537" sldId="707"/>
            <ac:spMk id="5" creationId="{0BCCCEAD-BA25-02AE-2CA7-DE101C8535FF}"/>
          </ac:spMkLst>
        </pc:spChg>
        <pc:spChg chg="add del mod ord">
          <ac:chgData name="Ciacci, Aurelia" userId="f09834df-1e97-41e8-bd21-3860a284c5fc" providerId="ADAL" clId="{18FFE5A7-A348-4058-82CE-F26E60DB0D95}" dt="2026-05-11T14:08:35.255" v="12996" actId="478"/>
          <ac:spMkLst>
            <pc:docMk/>
            <pc:sldMk cId="3670133537" sldId="707"/>
            <ac:spMk id="6" creationId="{FC0857A0-8329-4B24-F6C8-DE309A8D7F3A}"/>
          </ac:spMkLst>
        </pc:spChg>
        <pc:spChg chg="add del mod">
          <ac:chgData name="Ciacci, Aurelia" userId="f09834df-1e97-41e8-bd21-3860a284c5fc" providerId="ADAL" clId="{18FFE5A7-A348-4058-82CE-F26E60DB0D95}" dt="2026-05-11T14:30:26.958" v="13896" actId="108"/>
          <ac:spMkLst>
            <pc:docMk/>
            <pc:sldMk cId="3670133537" sldId="707"/>
            <ac:spMk id="8" creationId="{87E26DD1-CE2A-95B0-C510-CF13139C5F30}"/>
          </ac:spMkLst>
        </pc:spChg>
        <pc:spChg chg="mod">
          <ac:chgData name="Ciacci, Aurelia" userId="f09834df-1e97-41e8-bd21-3860a284c5fc" providerId="ADAL" clId="{18FFE5A7-A348-4058-82CE-F26E60DB0D95}" dt="2026-05-11T14:30:19.422" v="13895" actId="14861"/>
          <ac:spMkLst>
            <pc:docMk/>
            <pc:sldMk cId="3670133537" sldId="707"/>
            <ac:spMk id="10" creationId="{ABDDB780-6FAC-E0B9-96A1-5C2B596BEA25}"/>
          </ac:spMkLst>
        </pc:spChg>
        <pc:spChg chg="add del mod ord">
          <ac:chgData name="Ciacci, Aurelia" userId="f09834df-1e97-41e8-bd21-3860a284c5fc" providerId="ADAL" clId="{18FFE5A7-A348-4058-82CE-F26E60DB0D95}" dt="2026-05-11T14:14:26.989" v="13119" actId="478"/>
          <ac:spMkLst>
            <pc:docMk/>
            <pc:sldMk cId="3670133537" sldId="707"/>
            <ac:spMk id="12" creationId="{38142585-F536-4455-F184-F2EFE70E9F01}"/>
          </ac:spMkLst>
        </pc:spChg>
        <pc:spChg chg="add del mod">
          <ac:chgData name="Ciacci, Aurelia" userId="f09834df-1e97-41e8-bd21-3860a284c5fc" providerId="ADAL" clId="{18FFE5A7-A348-4058-82CE-F26E60DB0D95}" dt="2026-05-11T14:14:24.928" v="13118" actId="478"/>
          <ac:spMkLst>
            <pc:docMk/>
            <pc:sldMk cId="3670133537" sldId="707"/>
            <ac:spMk id="13" creationId="{8EBC3B05-F12D-C6CB-4D14-97A5D4FEEE25}"/>
          </ac:spMkLst>
        </pc:spChg>
        <pc:spChg chg="del mod">
          <ac:chgData name="Ciacci, Aurelia" userId="f09834df-1e97-41e8-bd21-3860a284c5fc" providerId="ADAL" clId="{18FFE5A7-A348-4058-82CE-F26E60DB0D95}" dt="2026-05-11T14:24:41.114" v="13359" actId="478"/>
          <ac:spMkLst>
            <pc:docMk/>
            <pc:sldMk cId="3670133537" sldId="707"/>
            <ac:spMk id="14" creationId="{DA11D12B-34A8-EA60-2C97-86927E72D6DB}"/>
          </ac:spMkLst>
        </pc:spChg>
        <pc:spChg chg="del mod">
          <ac:chgData name="Ciacci, Aurelia" userId="f09834df-1e97-41e8-bd21-3860a284c5fc" providerId="ADAL" clId="{18FFE5A7-A348-4058-82CE-F26E60DB0D95}" dt="2026-05-11T14:26:02.154" v="13457" actId="478"/>
          <ac:spMkLst>
            <pc:docMk/>
            <pc:sldMk cId="3670133537" sldId="707"/>
            <ac:spMk id="15" creationId="{0803CFF8-B7AD-5940-0E35-B3699B53D235}"/>
          </ac:spMkLst>
        </pc:spChg>
        <pc:spChg chg="del mod">
          <ac:chgData name="Ciacci, Aurelia" userId="f09834df-1e97-41e8-bd21-3860a284c5fc" providerId="ADAL" clId="{18FFE5A7-A348-4058-82CE-F26E60DB0D95}" dt="2026-05-11T14:26:49.923" v="13572" actId="478"/>
          <ac:spMkLst>
            <pc:docMk/>
            <pc:sldMk cId="3670133537" sldId="707"/>
            <ac:spMk id="16" creationId="{D4C64D98-A968-4BC3-A79D-33CAFFF237E8}"/>
          </ac:spMkLst>
        </pc:spChg>
        <pc:spChg chg="del mod">
          <ac:chgData name="Ciacci, Aurelia" userId="f09834df-1e97-41e8-bd21-3860a284c5fc" providerId="ADAL" clId="{18FFE5A7-A348-4058-82CE-F26E60DB0D95}" dt="2026-05-11T14:27:45.007" v="13758" actId="478"/>
          <ac:spMkLst>
            <pc:docMk/>
            <pc:sldMk cId="3670133537" sldId="707"/>
            <ac:spMk id="17" creationId="{589402FC-E54E-9349-469F-1B1280193A9A}"/>
          </ac:spMkLst>
        </pc:spChg>
        <pc:spChg chg="mod">
          <ac:chgData name="Ciacci, Aurelia" userId="f09834df-1e97-41e8-bd21-3860a284c5fc" providerId="ADAL" clId="{18FFE5A7-A348-4058-82CE-F26E60DB0D95}" dt="2026-05-11T14:30:56.627" v="13898" actId="114"/>
          <ac:spMkLst>
            <pc:docMk/>
            <pc:sldMk cId="3670133537" sldId="707"/>
            <ac:spMk id="18" creationId="{5E74A91B-527A-8908-AB16-256E1FE05E40}"/>
          </ac:spMkLst>
        </pc:spChg>
        <pc:spChg chg="del mod">
          <ac:chgData name="Ciacci, Aurelia" userId="f09834df-1e97-41e8-bd21-3860a284c5fc" providerId="ADAL" clId="{18FFE5A7-A348-4058-82CE-F26E60DB0D95}" dt="2026-05-11T14:22:00.175" v="13219" actId="478"/>
          <ac:spMkLst>
            <pc:docMk/>
            <pc:sldMk cId="3670133537" sldId="707"/>
            <ac:spMk id="19" creationId="{DBF5AC2E-DABD-E5D1-3B46-9C5C6C0438DD}"/>
          </ac:spMkLst>
        </pc:spChg>
        <pc:spChg chg="del mod">
          <ac:chgData name="Ciacci, Aurelia" userId="f09834df-1e97-41e8-bd21-3860a284c5fc" providerId="ADAL" clId="{18FFE5A7-A348-4058-82CE-F26E60DB0D95}" dt="2026-05-11T14:22:09.292" v="13222" actId="478"/>
          <ac:spMkLst>
            <pc:docMk/>
            <pc:sldMk cId="3670133537" sldId="707"/>
            <ac:spMk id="20" creationId="{2F9B1570-F7C5-D175-234C-F5D1C4FBBB40}"/>
          </ac:spMkLst>
        </pc:spChg>
        <pc:spChg chg="del mod">
          <ac:chgData name="Ciacci, Aurelia" userId="f09834df-1e97-41e8-bd21-3860a284c5fc" providerId="ADAL" clId="{18FFE5A7-A348-4058-82CE-F26E60DB0D95}" dt="2026-05-11T14:22:52.806" v="13254" actId="478"/>
          <ac:spMkLst>
            <pc:docMk/>
            <pc:sldMk cId="3670133537" sldId="707"/>
            <ac:spMk id="21" creationId="{DEEC5D6F-E2AB-B7FA-78FC-9D621DD56738}"/>
          </ac:spMkLst>
        </pc:spChg>
        <pc:spChg chg="add mod ord">
          <ac:chgData name="Ciacci, Aurelia" userId="f09834df-1e97-41e8-bd21-3860a284c5fc" providerId="ADAL" clId="{18FFE5A7-A348-4058-82CE-F26E60DB0D95}" dt="2026-05-11T14:34:05.902" v="13973" actId="14100"/>
          <ac:spMkLst>
            <pc:docMk/>
            <pc:sldMk cId="3670133537" sldId="707"/>
            <ac:spMk id="23" creationId="{9C53B0F8-8666-FA0D-54AC-65E8B658AFF7}"/>
          </ac:spMkLst>
        </pc:spChg>
        <pc:spChg chg="add del mod ord">
          <ac:chgData name="Ciacci, Aurelia" userId="f09834df-1e97-41e8-bd21-3860a284c5fc" providerId="ADAL" clId="{18FFE5A7-A348-4058-82CE-F26E60DB0D95}" dt="2026-05-11T14:20:11.748" v="13171" actId="478"/>
          <ac:spMkLst>
            <pc:docMk/>
            <pc:sldMk cId="3670133537" sldId="707"/>
            <ac:spMk id="24" creationId="{3CEEA3E8-F231-C8B9-3B4B-B6F49ECD3D1B}"/>
          </ac:spMkLst>
        </pc:spChg>
        <pc:spChg chg="add mod">
          <ac:chgData name="Ciacci, Aurelia" userId="f09834df-1e97-41e8-bd21-3860a284c5fc" providerId="ADAL" clId="{18FFE5A7-A348-4058-82CE-F26E60DB0D95}" dt="2026-05-11T14:34:05.902" v="13973" actId="14100"/>
          <ac:spMkLst>
            <pc:docMk/>
            <pc:sldMk cId="3670133537" sldId="707"/>
            <ac:spMk id="25" creationId="{FF143110-599B-7D47-8049-A7288807313D}"/>
          </ac:spMkLst>
        </pc:spChg>
        <pc:spChg chg="add mod">
          <ac:chgData name="Ciacci, Aurelia" userId="f09834df-1e97-41e8-bd21-3860a284c5fc" providerId="ADAL" clId="{18FFE5A7-A348-4058-82CE-F26E60DB0D95}" dt="2026-05-11T14:30:56.627" v="13898" actId="114"/>
          <ac:spMkLst>
            <pc:docMk/>
            <pc:sldMk cId="3670133537" sldId="707"/>
            <ac:spMk id="26" creationId="{C09848D3-6BE5-229D-A62F-5FAEAA5F5D06}"/>
          </ac:spMkLst>
        </pc:spChg>
        <pc:spChg chg="add del mod">
          <ac:chgData name="Ciacci, Aurelia" userId="f09834df-1e97-41e8-bd21-3860a284c5fc" providerId="ADAL" clId="{18FFE5A7-A348-4058-82CE-F26E60DB0D95}" dt="2026-05-11T14:22:43.701" v="13251" actId="478"/>
          <ac:spMkLst>
            <pc:docMk/>
            <pc:sldMk cId="3670133537" sldId="707"/>
            <ac:spMk id="27" creationId="{90DE475D-68D0-C3A8-A0E8-5003A4BD92D9}"/>
          </ac:spMkLst>
        </pc:spChg>
        <pc:spChg chg="add mod">
          <ac:chgData name="Ciacci, Aurelia" userId="f09834df-1e97-41e8-bd21-3860a284c5fc" providerId="ADAL" clId="{18FFE5A7-A348-4058-82CE-F26E60DB0D95}" dt="2026-05-11T14:34:05.902" v="13973" actId="14100"/>
          <ac:spMkLst>
            <pc:docMk/>
            <pc:sldMk cId="3670133537" sldId="707"/>
            <ac:spMk id="28" creationId="{814D072C-3431-A157-1E61-588F7C6AD4C2}"/>
          </ac:spMkLst>
        </pc:spChg>
        <pc:spChg chg="add mod">
          <ac:chgData name="Ciacci, Aurelia" userId="f09834df-1e97-41e8-bd21-3860a284c5fc" providerId="ADAL" clId="{18FFE5A7-A348-4058-82CE-F26E60DB0D95}" dt="2026-05-11T14:30:56.627" v="13898" actId="114"/>
          <ac:spMkLst>
            <pc:docMk/>
            <pc:sldMk cId="3670133537" sldId="707"/>
            <ac:spMk id="29" creationId="{8AC21AEC-7208-CCD9-C2F4-DBB993F1DDD4}"/>
          </ac:spMkLst>
        </pc:spChg>
        <pc:spChg chg="add del mod">
          <ac:chgData name="Ciacci, Aurelia" userId="f09834df-1e97-41e8-bd21-3860a284c5fc" providerId="ADAL" clId="{18FFE5A7-A348-4058-82CE-F26E60DB0D95}" dt="2026-05-11T14:23:32.727" v="13308" actId="478"/>
          <ac:spMkLst>
            <pc:docMk/>
            <pc:sldMk cId="3670133537" sldId="707"/>
            <ac:spMk id="30" creationId="{C669012A-0ADA-6D8E-6A60-FF09C9A43B97}"/>
          </ac:spMkLst>
        </pc:spChg>
        <pc:spChg chg="add mod">
          <ac:chgData name="Ciacci, Aurelia" userId="f09834df-1e97-41e8-bd21-3860a284c5fc" providerId="ADAL" clId="{18FFE5A7-A348-4058-82CE-F26E60DB0D95}" dt="2026-05-11T14:22:55.970" v="13255"/>
          <ac:spMkLst>
            <pc:docMk/>
            <pc:sldMk cId="3670133537" sldId="707"/>
            <ac:spMk id="31" creationId="{2ACD1935-F7BB-D0AE-8091-90B94C99AF5B}"/>
          </ac:spMkLst>
        </pc:spChg>
        <pc:spChg chg="add mod">
          <ac:chgData name="Ciacci, Aurelia" userId="f09834df-1e97-41e8-bd21-3860a284c5fc" providerId="ADAL" clId="{18FFE5A7-A348-4058-82CE-F26E60DB0D95}" dt="2026-05-11T14:34:05.902" v="13973" actId="14100"/>
          <ac:spMkLst>
            <pc:docMk/>
            <pc:sldMk cId="3670133537" sldId="707"/>
            <ac:spMk id="32" creationId="{8CF53629-213E-1889-B7B4-DE1731A00538}"/>
          </ac:spMkLst>
        </pc:spChg>
        <pc:spChg chg="add mod">
          <ac:chgData name="Ciacci, Aurelia" userId="f09834df-1e97-41e8-bd21-3860a284c5fc" providerId="ADAL" clId="{18FFE5A7-A348-4058-82CE-F26E60DB0D95}" dt="2026-05-11T14:30:56.627" v="13898" actId="114"/>
          <ac:spMkLst>
            <pc:docMk/>
            <pc:sldMk cId="3670133537" sldId="707"/>
            <ac:spMk id="33" creationId="{811C1494-08F3-1BAA-817E-7745CF4D26D5}"/>
          </ac:spMkLst>
        </pc:spChg>
        <pc:spChg chg="add del mod">
          <ac:chgData name="Ciacci, Aurelia" userId="f09834df-1e97-41e8-bd21-3860a284c5fc" providerId="ADAL" clId="{18FFE5A7-A348-4058-82CE-F26E60DB0D95}" dt="2026-05-11T14:24:22.680" v="13354" actId="478"/>
          <ac:spMkLst>
            <pc:docMk/>
            <pc:sldMk cId="3670133537" sldId="707"/>
            <ac:spMk id="34" creationId="{BBAABB24-7562-DF7D-C2AC-341EB2E22B46}"/>
          </ac:spMkLst>
        </pc:spChg>
        <pc:spChg chg="add mod">
          <ac:chgData name="Ciacci, Aurelia" userId="f09834df-1e97-41e8-bd21-3860a284c5fc" providerId="ADAL" clId="{18FFE5A7-A348-4058-82CE-F26E60DB0D95}" dt="2026-05-11T14:34:05.902" v="13973" actId="14100"/>
          <ac:spMkLst>
            <pc:docMk/>
            <pc:sldMk cId="3670133537" sldId="707"/>
            <ac:spMk id="35" creationId="{4A8E210D-4E06-8B6D-F509-1C644B7352AE}"/>
          </ac:spMkLst>
        </pc:spChg>
        <pc:spChg chg="add mod">
          <ac:chgData name="Ciacci, Aurelia" userId="f09834df-1e97-41e8-bd21-3860a284c5fc" providerId="ADAL" clId="{18FFE5A7-A348-4058-82CE-F26E60DB0D95}" dt="2026-05-11T14:36:14.968" v="13989" actId="14100"/>
          <ac:spMkLst>
            <pc:docMk/>
            <pc:sldMk cId="3670133537" sldId="707"/>
            <ac:spMk id="36" creationId="{B843C8CF-F33C-5363-9054-ED06FB3E4CBD}"/>
          </ac:spMkLst>
        </pc:spChg>
        <pc:spChg chg="add del">
          <ac:chgData name="Ciacci, Aurelia" userId="f09834df-1e97-41e8-bd21-3860a284c5fc" providerId="ADAL" clId="{18FFE5A7-A348-4058-82CE-F26E60DB0D95}" dt="2026-05-11T14:24:29.267" v="13356" actId="22"/>
          <ac:spMkLst>
            <pc:docMk/>
            <pc:sldMk cId="3670133537" sldId="707"/>
            <ac:spMk id="38" creationId="{AB204CA4-E5E9-42A9-6ED1-C95333E3DF38}"/>
          </ac:spMkLst>
        </pc:spChg>
        <pc:spChg chg="add del mod">
          <ac:chgData name="Ciacci, Aurelia" userId="f09834df-1e97-41e8-bd21-3860a284c5fc" providerId="ADAL" clId="{18FFE5A7-A348-4058-82CE-F26E60DB0D95}" dt="2026-05-11T14:25:46.735" v="13454" actId="478"/>
          <ac:spMkLst>
            <pc:docMk/>
            <pc:sldMk cId="3670133537" sldId="707"/>
            <ac:spMk id="39" creationId="{BC7D0C66-4510-2116-3BC0-A3F7FEE37A5B}"/>
          </ac:spMkLst>
        </pc:spChg>
        <pc:spChg chg="add mod">
          <ac:chgData name="Ciacci, Aurelia" userId="f09834df-1e97-41e8-bd21-3860a284c5fc" providerId="ADAL" clId="{18FFE5A7-A348-4058-82CE-F26E60DB0D95}" dt="2026-05-11T14:28:56.592" v="13862" actId="552"/>
          <ac:spMkLst>
            <pc:docMk/>
            <pc:sldMk cId="3670133537" sldId="707"/>
            <ac:spMk id="40" creationId="{7EB5ED19-32FF-D64F-C454-162885A3353E}"/>
          </ac:spMkLst>
        </pc:spChg>
        <pc:spChg chg="add mod">
          <ac:chgData name="Ciacci, Aurelia" userId="f09834df-1e97-41e8-bd21-3860a284c5fc" providerId="ADAL" clId="{18FFE5A7-A348-4058-82CE-F26E60DB0D95}" dt="2026-05-11T14:30:56.627" v="13898" actId="114"/>
          <ac:spMkLst>
            <pc:docMk/>
            <pc:sldMk cId="3670133537" sldId="707"/>
            <ac:spMk id="41" creationId="{19E23C5C-8D59-9B76-3E88-904FBC1CEA99}"/>
          </ac:spMkLst>
        </pc:spChg>
        <pc:spChg chg="add del mod">
          <ac:chgData name="Ciacci, Aurelia" userId="f09834df-1e97-41e8-bd21-3860a284c5fc" providerId="ADAL" clId="{18FFE5A7-A348-4058-82CE-F26E60DB0D95}" dt="2026-05-11T14:26:37.397" v="13569" actId="478"/>
          <ac:spMkLst>
            <pc:docMk/>
            <pc:sldMk cId="3670133537" sldId="707"/>
            <ac:spMk id="42" creationId="{FA597AAC-FD41-C675-887B-71AA29FFE02B}"/>
          </ac:spMkLst>
        </pc:spChg>
        <pc:spChg chg="add mod">
          <ac:chgData name="Ciacci, Aurelia" userId="f09834df-1e97-41e8-bd21-3860a284c5fc" providerId="ADAL" clId="{18FFE5A7-A348-4058-82CE-F26E60DB0D95}" dt="2026-05-11T14:29:05.578" v="13874" actId="1037"/>
          <ac:spMkLst>
            <pc:docMk/>
            <pc:sldMk cId="3670133537" sldId="707"/>
            <ac:spMk id="43" creationId="{171553E9-B24D-99AA-D81F-D718DDF1426F}"/>
          </ac:spMkLst>
        </pc:spChg>
        <pc:spChg chg="add mod">
          <ac:chgData name="Ciacci, Aurelia" userId="f09834df-1e97-41e8-bd21-3860a284c5fc" providerId="ADAL" clId="{18FFE5A7-A348-4058-82CE-F26E60DB0D95}" dt="2026-05-11T14:30:56.627" v="13898" actId="114"/>
          <ac:spMkLst>
            <pc:docMk/>
            <pc:sldMk cId="3670133537" sldId="707"/>
            <ac:spMk id="44" creationId="{32915B5C-8AD0-872C-D94B-E20990523076}"/>
          </ac:spMkLst>
        </pc:spChg>
        <pc:spChg chg="add del mod">
          <ac:chgData name="Ciacci, Aurelia" userId="f09834df-1e97-41e8-bd21-3860a284c5fc" providerId="ADAL" clId="{18FFE5A7-A348-4058-82CE-F26E60DB0D95}" dt="2026-05-11T14:27:36.880" v="13755" actId="478"/>
          <ac:spMkLst>
            <pc:docMk/>
            <pc:sldMk cId="3670133537" sldId="707"/>
            <ac:spMk id="45" creationId="{54521E3F-5530-F5B6-138C-7BA2D06961F4}"/>
          </ac:spMkLst>
        </pc:spChg>
        <pc:spChg chg="add mod">
          <ac:chgData name="Ciacci, Aurelia" userId="f09834df-1e97-41e8-bd21-3860a284c5fc" providerId="ADAL" clId="{18FFE5A7-A348-4058-82CE-F26E60DB0D95}" dt="2026-05-11T14:28:56.592" v="13862" actId="552"/>
          <ac:spMkLst>
            <pc:docMk/>
            <pc:sldMk cId="3670133537" sldId="707"/>
            <ac:spMk id="46" creationId="{5865CFFD-44BD-C049-A67D-6F7CFAA4197B}"/>
          </ac:spMkLst>
        </pc:spChg>
        <pc:spChg chg="add mod">
          <ac:chgData name="Ciacci, Aurelia" userId="f09834df-1e97-41e8-bd21-3860a284c5fc" providerId="ADAL" clId="{18FFE5A7-A348-4058-82CE-F26E60DB0D95}" dt="2026-05-11T14:30:56.627" v="13898" actId="114"/>
          <ac:spMkLst>
            <pc:docMk/>
            <pc:sldMk cId="3670133537" sldId="707"/>
            <ac:spMk id="47" creationId="{EEFFC16A-6134-CE1D-E911-328EE0FF8AB4}"/>
          </ac:spMkLst>
        </pc:spChg>
        <pc:spChg chg="add del mod">
          <ac:chgData name="Ciacci, Aurelia" userId="f09834df-1e97-41e8-bd21-3860a284c5fc" providerId="ADAL" clId="{18FFE5A7-A348-4058-82CE-F26E60DB0D95}" dt="2026-05-11T14:28:12.015" v="13777" actId="478"/>
          <ac:spMkLst>
            <pc:docMk/>
            <pc:sldMk cId="3670133537" sldId="707"/>
            <ac:spMk id="48" creationId="{2D9F9AF0-6177-07B2-6789-4CA32865A8C6}"/>
          </ac:spMkLst>
        </pc:spChg>
        <pc:spChg chg="add mod">
          <ac:chgData name="Ciacci, Aurelia" userId="f09834df-1e97-41e8-bd21-3860a284c5fc" providerId="ADAL" clId="{18FFE5A7-A348-4058-82CE-F26E60DB0D95}" dt="2026-05-11T14:29:05.578" v="13874" actId="1037"/>
          <ac:spMkLst>
            <pc:docMk/>
            <pc:sldMk cId="3670133537" sldId="707"/>
            <ac:spMk id="49" creationId="{DC9100B1-D8A6-1DCE-DF99-AC671E80F889}"/>
          </ac:spMkLst>
        </pc:spChg>
        <pc:spChg chg="add mod">
          <ac:chgData name="Ciacci, Aurelia" userId="f09834df-1e97-41e8-bd21-3860a284c5fc" providerId="ADAL" clId="{18FFE5A7-A348-4058-82CE-F26E60DB0D95}" dt="2026-05-11T14:30:56.627" v="13898" actId="114"/>
          <ac:spMkLst>
            <pc:docMk/>
            <pc:sldMk cId="3670133537" sldId="707"/>
            <ac:spMk id="50" creationId="{EFD0F795-5A46-73FF-818C-DB44378030EF}"/>
          </ac:spMkLst>
        </pc:spChg>
        <pc:spChg chg="add mod">
          <ac:chgData name="Ciacci, Aurelia" userId="f09834df-1e97-41e8-bd21-3860a284c5fc" providerId="ADAL" clId="{18FFE5A7-A348-4058-82CE-F26E60DB0D95}" dt="2026-05-11T14:28:56.592" v="13862" actId="552"/>
          <ac:spMkLst>
            <pc:docMk/>
            <pc:sldMk cId="3670133537" sldId="707"/>
            <ac:spMk id="51" creationId="{7C43A5A4-E258-295A-243B-F4401C756E35}"/>
          </ac:spMkLst>
        </pc:spChg>
        <pc:spChg chg="add mod">
          <ac:chgData name="Ciacci, Aurelia" userId="f09834df-1e97-41e8-bd21-3860a284c5fc" providerId="ADAL" clId="{18FFE5A7-A348-4058-82CE-F26E60DB0D95}" dt="2026-05-11T14:30:56.627" v="13898" actId="114"/>
          <ac:spMkLst>
            <pc:docMk/>
            <pc:sldMk cId="3670133537" sldId="707"/>
            <ac:spMk id="52" creationId="{6F05A7A3-52F2-0F62-5629-8A8D8D95A475}"/>
          </ac:spMkLst>
        </pc:spChg>
        <pc:spChg chg="add del">
          <ac:chgData name="Ciacci, Aurelia" userId="f09834df-1e97-41e8-bd21-3860a284c5fc" providerId="ADAL" clId="{18FFE5A7-A348-4058-82CE-F26E60DB0D95}" dt="2026-05-11T14:32:39.605" v="13925" actId="22"/>
          <ac:spMkLst>
            <pc:docMk/>
            <pc:sldMk cId="3670133537" sldId="707"/>
            <ac:spMk id="54" creationId="{82758535-2FA1-7395-A3C3-D7967EC0D742}"/>
          </ac:spMkLst>
        </pc:spChg>
        <pc:spChg chg="add mod">
          <ac:chgData name="Ciacci, Aurelia" userId="f09834df-1e97-41e8-bd21-3860a284c5fc" providerId="ADAL" clId="{18FFE5A7-A348-4058-82CE-F26E60DB0D95}" dt="2026-05-11T14:31:19.006" v="13900" actId="108"/>
          <ac:spMkLst>
            <pc:docMk/>
            <pc:sldMk cId="3670133537" sldId="707"/>
            <ac:spMk id="111" creationId="{79501565-5DAB-5EEC-302F-CE40D4FA790A}"/>
          </ac:spMkLst>
        </pc:spChg>
        <pc:spChg chg="add mod">
          <ac:chgData name="Ciacci, Aurelia" userId="f09834df-1e97-41e8-bd21-3860a284c5fc" providerId="ADAL" clId="{18FFE5A7-A348-4058-82CE-F26E60DB0D95}" dt="2026-05-11T14:31:19.006" v="13900" actId="108"/>
          <ac:spMkLst>
            <pc:docMk/>
            <pc:sldMk cId="3670133537" sldId="707"/>
            <ac:spMk id="112" creationId="{BBEE3999-D9E5-ADFD-7A94-83A5315A6087}"/>
          </ac:spMkLst>
        </pc:spChg>
        <pc:spChg chg="add mod">
          <ac:chgData name="Ciacci, Aurelia" userId="f09834df-1e97-41e8-bd21-3860a284c5fc" providerId="ADAL" clId="{18FFE5A7-A348-4058-82CE-F26E60DB0D95}" dt="2026-05-11T14:31:23.300" v="13901" actId="108"/>
          <ac:spMkLst>
            <pc:docMk/>
            <pc:sldMk cId="3670133537" sldId="707"/>
            <ac:spMk id="113" creationId="{3796527C-05C2-2FB8-913A-F0A1F6E44B5B}"/>
          </ac:spMkLst>
        </pc:spChg>
        <pc:spChg chg="add mod">
          <ac:chgData name="Ciacci, Aurelia" userId="f09834df-1e97-41e8-bd21-3860a284c5fc" providerId="ADAL" clId="{18FFE5A7-A348-4058-82CE-F26E60DB0D95}" dt="2026-05-11T14:31:28.248" v="13903" actId="108"/>
          <ac:spMkLst>
            <pc:docMk/>
            <pc:sldMk cId="3670133537" sldId="707"/>
            <ac:spMk id="114" creationId="{C0BDB7B6-8DC9-2A2D-1240-3672124A23C2}"/>
          </ac:spMkLst>
        </pc:spChg>
        <pc:spChg chg="add mod">
          <ac:chgData name="Ciacci, Aurelia" userId="f09834df-1e97-41e8-bd21-3860a284c5fc" providerId="ADAL" clId="{18FFE5A7-A348-4058-82CE-F26E60DB0D95}" dt="2026-05-11T14:31:25.993" v="13902" actId="108"/>
          <ac:spMkLst>
            <pc:docMk/>
            <pc:sldMk cId="3670133537" sldId="707"/>
            <ac:spMk id="115" creationId="{7E35876F-D1C8-D342-8542-1C4B89197011}"/>
          </ac:spMkLst>
        </pc:spChg>
        <pc:spChg chg="add mod">
          <ac:chgData name="Ciacci, Aurelia" userId="f09834df-1e97-41e8-bd21-3860a284c5fc" providerId="ADAL" clId="{18FFE5A7-A348-4058-82CE-F26E60DB0D95}" dt="2026-05-11T14:31:37.495" v="13906" actId="108"/>
          <ac:spMkLst>
            <pc:docMk/>
            <pc:sldMk cId="3670133537" sldId="707"/>
            <ac:spMk id="116" creationId="{EF7FD491-D5DE-C0F8-0FCF-B8A0D261406F}"/>
          </ac:spMkLst>
        </pc:spChg>
        <pc:spChg chg="add mod">
          <ac:chgData name="Ciacci, Aurelia" userId="f09834df-1e97-41e8-bd21-3860a284c5fc" providerId="ADAL" clId="{18FFE5A7-A348-4058-82CE-F26E60DB0D95}" dt="2026-05-11T14:31:34.715" v="13905" actId="108"/>
          <ac:spMkLst>
            <pc:docMk/>
            <pc:sldMk cId="3670133537" sldId="707"/>
            <ac:spMk id="117" creationId="{1E75B5E5-36A1-E604-729C-8AF2EED03F8F}"/>
          </ac:spMkLst>
        </pc:spChg>
        <pc:spChg chg="add mod">
          <ac:chgData name="Ciacci, Aurelia" userId="f09834df-1e97-41e8-bd21-3860a284c5fc" providerId="ADAL" clId="{18FFE5A7-A348-4058-82CE-F26E60DB0D95}" dt="2026-05-11T14:31:40.011" v="13907" actId="108"/>
          <ac:spMkLst>
            <pc:docMk/>
            <pc:sldMk cId="3670133537" sldId="707"/>
            <ac:spMk id="118" creationId="{47CEC04C-1015-15FA-334A-7C4C7977F477}"/>
          </ac:spMkLst>
        </pc:spChg>
        <pc:spChg chg="add del mod">
          <ac:chgData name="Ciacci, Aurelia" userId="f09834df-1e97-41e8-bd21-3860a284c5fc" providerId="ADAL" clId="{18FFE5A7-A348-4058-82CE-F26E60DB0D95}" dt="2026-05-11T14:28:46.764" v="13861" actId="478"/>
          <ac:spMkLst>
            <pc:docMk/>
            <pc:sldMk cId="3670133537" sldId="707"/>
            <ac:spMk id="119" creationId="{A8E83D8B-B9ED-C1D7-292D-566FEB6B562E}"/>
          </ac:spMkLst>
        </pc:spChg>
        <pc:spChg chg="add del mod">
          <ac:chgData name="Ciacci, Aurelia" userId="f09834df-1e97-41e8-bd21-3860a284c5fc" providerId="ADAL" clId="{18FFE5A7-A348-4058-82CE-F26E60DB0D95}" dt="2026-05-11T14:23:41.263" v="13311" actId="478"/>
          <ac:spMkLst>
            <pc:docMk/>
            <pc:sldMk cId="3670133537" sldId="707"/>
            <ac:spMk id="120" creationId="{31A68327-1122-9FD6-7460-414ADEBBF871}"/>
          </ac:spMkLst>
        </pc:spChg>
        <pc:cxnChg chg="add del mod">
          <ac:chgData name="Ciacci, Aurelia" userId="f09834df-1e97-41e8-bd21-3860a284c5fc" providerId="ADAL" clId="{18FFE5A7-A348-4058-82CE-F26E60DB0D95}" dt="2026-05-11T14:09:18.374" v="13002" actId="478"/>
          <ac:cxnSpMkLst>
            <pc:docMk/>
            <pc:sldMk cId="3670133537" sldId="707"/>
            <ac:cxnSpMk id="11" creationId="{1E39C12E-0F5D-A101-6AAF-3B20A93E458A}"/>
          </ac:cxnSpMkLst>
        </pc:cxnChg>
        <pc:cxnChg chg="mod">
          <ac:chgData name="Ciacci, Aurelia" userId="f09834df-1e97-41e8-bd21-3860a284c5fc" providerId="ADAL" clId="{18FFE5A7-A348-4058-82CE-F26E60DB0D95}" dt="2026-05-11T14:29:15.411" v="13890" actId="1038"/>
          <ac:cxnSpMkLst>
            <pc:docMk/>
            <pc:sldMk cId="3670133537" sldId="707"/>
            <ac:cxnSpMk id="22" creationId="{D77156DC-CA88-5178-47B0-6D49B1FA58BF}"/>
          </ac:cxnSpMkLst>
        </pc:cxnChg>
      </pc:sldChg>
      <pc:sldChg chg="addSp delSp modSp mod">
        <pc:chgData name="Ciacci, Aurelia" userId="f09834df-1e97-41e8-bd21-3860a284c5fc" providerId="ADAL" clId="{18FFE5A7-A348-4058-82CE-F26E60DB0D95}" dt="2026-05-07T16:06:56.122" v="9054" actId="1035"/>
        <pc:sldMkLst>
          <pc:docMk/>
          <pc:sldMk cId="3993737009" sldId="708"/>
        </pc:sldMkLst>
      </pc:sldChg>
      <pc:sldChg chg="addSp delSp modSp mod">
        <pc:chgData name="Ciacci, Aurelia" userId="f09834df-1e97-41e8-bd21-3860a284c5fc" providerId="ADAL" clId="{18FFE5A7-A348-4058-82CE-F26E60DB0D95}" dt="2026-05-07T16:07:19.554" v="9098" actId="1036"/>
        <pc:sldMkLst>
          <pc:docMk/>
          <pc:sldMk cId="1289130398" sldId="709"/>
        </pc:sldMkLst>
      </pc:sldChg>
      <pc:sldChg chg="addSp delSp modSp mod">
        <pc:chgData name="Ciacci, Aurelia" userId="f09834df-1e97-41e8-bd21-3860a284c5fc" providerId="ADAL" clId="{18FFE5A7-A348-4058-82CE-F26E60DB0D95}" dt="2026-05-07T16:07:42.884" v="9150" actId="1036"/>
        <pc:sldMkLst>
          <pc:docMk/>
          <pc:sldMk cId="2086456195" sldId="710"/>
        </pc:sldMkLst>
        <pc:spChg chg="add mod">
          <ac:chgData name="Ciacci, Aurelia" userId="f09834df-1e97-41e8-bd21-3860a284c5fc" providerId="ADAL" clId="{18FFE5A7-A348-4058-82CE-F26E60DB0D95}" dt="2026-05-07T16:07:42.884" v="9150" actId="1036"/>
          <ac:spMkLst>
            <pc:docMk/>
            <pc:sldMk cId="2086456195" sldId="710"/>
            <ac:spMk id="3" creationId="{3B4A3F59-8E5A-3614-B72C-99980FE62204}"/>
          </ac:spMkLst>
        </pc:spChg>
      </pc:sldChg>
      <pc:sldChg chg="addSp delSp modSp mod">
        <pc:chgData name="Ciacci, Aurelia" userId="f09834df-1e97-41e8-bd21-3860a284c5fc" providerId="ADAL" clId="{18FFE5A7-A348-4058-82CE-F26E60DB0D95}" dt="2026-05-07T16:08:02.255" v="9200" actId="1036"/>
        <pc:sldMkLst>
          <pc:docMk/>
          <pc:sldMk cId="89833404" sldId="711"/>
        </pc:sldMkLst>
        <pc:spChg chg="add mod">
          <ac:chgData name="Ciacci, Aurelia" userId="f09834df-1e97-41e8-bd21-3860a284c5fc" providerId="ADAL" clId="{18FFE5A7-A348-4058-82CE-F26E60DB0D95}" dt="2026-05-07T16:08:02.255" v="9200" actId="1036"/>
          <ac:spMkLst>
            <pc:docMk/>
            <pc:sldMk cId="89833404" sldId="711"/>
            <ac:spMk id="3" creationId="{1E1EBD76-52DE-1D2E-7F48-C3A1B34058A9}"/>
          </ac:spMkLst>
        </pc:spChg>
      </pc:sldChg>
      <pc:sldChg chg="addSp delSp modSp add mod ord modNotesTx">
        <pc:chgData name="Ciacci, Aurelia" userId="f09834df-1e97-41e8-bd21-3860a284c5fc" providerId="ADAL" clId="{18FFE5A7-A348-4058-82CE-F26E60DB0D95}" dt="2026-05-11T15:35:41.653" v="17460" actId="14861"/>
        <pc:sldMkLst>
          <pc:docMk/>
          <pc:sldMk cId="3888305542" sldId="713"/>
        </pc:sldMkLst>
        <pc:spChg chg="mod">
          <ac:chgData name="Ciacci, Aurelia" userId="f09834df-1e97-41e8-bd21-3860a284c5fc" providerId="ADAL" clId="{18FFE5A7-A348-4058-82CE-F26E60DB0D95}" dt="2026-05-07T14:33:43.438" v="5353" actId="1076"/>
          <ac:spMkLst>
            <pc:docMk/>
            <pc:sldMk cId="3888305542" sldId="713"/>
            <ac:spMk id="2" creationId="{B6806F9A-2736-062A-8B35-CFC68674575A}"/>
          </ac:spMkLst>
        </pc:spChg>
        <pc:spChg chg="mod">
          <ac:chgData name="Ciacci, Aurelia" userId="f09834df-1e97-41e8-bd21-3860a284c5fc" providerId="ADAL" clId="{18FFE5A7-A348-4058-82CE-F26E60DB0D95}" dt="2026-05-11T15:28:48.319" v="17344" actId="20577"/>
          <ac:spMkLst>
            <pc:docMk/>
            <pc:sldMk cId="3888305542" sldId="713"/>
            <ac:spMk id="4" creationId="{DC448C9F-DD68-1F5F-3274-C28664B8E3C5}"/>
          </ac:spMkLst>
        </pc:spChg>
        <pc:spChg chg="add del mod">
          <ac:chgData name="Ciacci, Aurelia" userId="f09834df-1e97-41e8-bd21-3860a284c5fc" providerId="ADAL" clId="{18FFE5A7-A348-4058-82CE-F26E60DB0D95}" dt="2026-05-11T13:31:17.623" v="11254" actId="478"/>
          <ac:spMkLst>
            <pc:docMk/>
            <pc:sldMk cId="3888305542" sldId="713"/>
            <ac:spMk id="5" creationId="{7EF55D60-C61F-7A42-EAED-F0C9F312B580}"/>
          </ac:spMkLst>
        </pc:spChg>
        <pc:spChg chg="del mod">
          <ac:chgData name="Ciacci, Aurelia" userId="f09834df-1e97-41e8-bd21-3860a284c5fc" providerId="ADAL" clId="{18FFE5A7-A348-4058-82CE-F26E60DB0D95}" dt="2026-05-11T13:29:59.742" v="11216" actId="478"/>
          <ac:spMkLst>
            <pc:docMk/>
            <pc:sldMk cId="3888305542" sldId="713"/>
            <ac:spMk id="7" creationId="{5ED39FF9-50A9-B0AB-F32C-C81194911A3E}"/>
          </ac:spMkLst>
        </pc:spChg>
        <pc:spChg chg="add mod topLvl">
          <ac:chgData name="Ciacci, Aurelia" userId="f09834df-1e97-41e8-bd21-3860a284c5fc" providerId="ADAL" clId="{18FFE5A7-A348-4058-82CE-F26E60DB0D95}" dt="2026-05-11T15:35:41.653" v="17460" actId="14861"/>
          <ac:spMkLst>
            <pc:docMk/>
            <pc:sldMk cId="3888305542" sldId="713"/>
            <ac:spMk id="8" creationId="{A0D19B9C-F2DD-3ED8-8C41-D70E9C259D2E}"/>
          </ac:spMkLst>
        </pc:spChg>
        <pc:spChg chg="add mod topLvl">
          <ac:chgData name="Ciacci, Aurelia" userId="f09834df-1e97-41e8-bd21-3860a284c5fc" providerId="ADAL" clId="{18FFE5A7-A348-4058-82CE-F26E60DB0D95}" dt="2026-05-11T15:34:26.458" v="17444" actId="1035"/>
          <ac:spMkLst>
            <pc:docMk/>
            <pc:sldMk cId="3888305542" sldId="713"/>
            <ac:spMk id="9" creationId="{60DA79ED-7DBC-3FCC-D9C1-7BD49C16FD94}"/>
          </ac:spMkLst>
        </pc:spChg>
        <pc:spChg chg="add del mod">
          <ac:chgData name="Ciacci, Aurelia" userId="f09834df-1e97-41e8-bd21-3860a284c5fc" providerId="ADAL" clId="{18FFE5A7-A348-4058-82CE-F26E60DB0D95}" dt="2026-05-11T13:31:17.623" v="11254" actId="478"/>
          <ac:spMkLst>
            <pc:docMk/>
            <pc:sldMk cId="3888305542" sldId="713"/>
            <ac:spMk id="10" creationId="{7A301301-0F72-1256-A1C6-069914B6053E}"/>
          </ac:spMkLst>
        </pc:spChg>
        <pc:spChg chg="add del mod">
          <ac:chgData name="Ciacci, Aurelia" userId="f09834df-1e97-41e8-bd21-3860a284c5fc" providerId="ADAL" clId="{18FFE5A7-A348-4058-82CE-F26E60DB0D95}" dt="2026-05-11T13:37:22.798" v="11433" actId="478"/>
          <ac:spMkLst>
            <pc:docMk/>
            <pc:sldMk cId="3888305542" sldId="713"/>
            <ac:spMk id="11" creationId="{38A22255-56F5-8201-3A61-C50779CFF160}"/>
          </ac:spMkLst>
        </pc:spChg>
        <pc:spChg chg="add del mod">
          <ac:chgData name="Ciacci, Aurelia" userId="f09834df-1e97-41e8-bd21-3860a284c5fc" providerId="ADAL" clId="{18FFE5A7-A348-4058-82CE-F26E60DB0D95}" dt="2026-05-11T13:17:10.918" v="10683" actId="478"/>
          <ac:spMkLst>
            <pc:docMk/>
            <pc:sldMk cId="3888305542" sldId="713"/>
            <ac:spMk id="13" creationId="{FEC0F10C-67A3-BD44-8519-ED459DC1D998}"/>
          </ac:spMkLst>
        </pc:spChg>
        <pc:spChg chg="add del mod">
          <ac:chgData name="Ciacci, Aurelia" userId="f09834df-1e97-41e8-bd21-3860a284c5fc" providerId="ADAL" clId="{18FFE5A7-A348-4058-82CE-F26E60DB0D95}" dt="2026-05-11T13:38:12.846" v="11515" actId="478"/>
          <ac:spMkLst>
            <pc:docMk/>
            <pc:sldMk cId="3888305542" sldId="713"/>
            <ac:spMk id="14" creationId="{DD67E1F9-17D4-32CD-74DB-8CE02DD163B9}"/>
          </ac:spMkLst>
        </pc:spChg>
        <pc:spChg chg="add mod">
          <ac:chgData name="Ciacci, Aurelia" userId="f09834df-1e97-41e8-bd21-3860a284c5fc" providerId="ADAL" clId="{18FFE5A7-A348-4058-82CE-F26E60DB0D95}" dt="2026-05-11T15:12:19.262" v="16315" actId="20577"/>
          <ac:spMkLst>
            <pc:docMk/>
            <pc:sldMk cId="3888305542" sldId="713"/>
            <ac:spMk id="15" creationId="{6A39540F-C6CE-6610-CD31-E820525354DB}"/>
          </ac:spMkLst>
        </pc:spChg>
        <pc:spChg chg="add del mod">
          <ac:chgData name="Ciacci, Aurelia" userId="f09834df-1e97-41e8-bd21-3860a284c5fc" providerId="ADAL" clId="{18FFE5A7-A348-4058-82CE-F26E60DB0D95}" dt="2026-05-11T13:33:20.484" v="11273" actId="478"/>
          <ac:spMkLst>
            <pc:docMk/>
            <pc:sldMk cId="3888305542" sldId="713"/>
            <ac:spMk id="16" creationId="{0D2CBAFF-206D-67BA-7D5F-3152ECC68E53}"/>
          </ac:spMkLst>
        </pc:spChg>
        <pc:spChg chg="add mod">
          <ac:chgData name="Ciacci, Aurelia" userId="f09834df-1e97-41e8-bd21-3860a284c5fc" providerId="ADAL" clId="{18FFE5A7-A348-4058-82CE-F26E60DB0D95}" dt="2026-05-11T13:45:52.326" v="11902" actId="2711"/>
          <ac:spMkLst>
            <pc:docMk/>
            <pc:sldMk cId="3888305542" sldId="713"/>
            <ac:spMk id="17" creationId="{3FC5258E-7346-8D93-3958-1C0BB10201A8}"/>
          </ac:spMkLst>
        </pc:spChg>
        <pc:spChg chg="add mod">
          <ac:chgData name="Ciacci, Aurelia" userId="f09834df-1e97-41e8-bd21-3860a284c5fc" providerId="ADAL" clId="{18FFE5A7-A348-4058-82CE-F26E60DB0D95}" dt="2026-05-11T13:37:50.078" v="11512" actId="14100"/>
          <ac:spMkLst>
            <pc:docMk/>
            <pc:sldMk cId="3888305542" sldId="713"/>
            <ac:spMk id="20" creationId="{5005EF48-53B0-4BC3-ACEE-59F864038BB5}"/>
          </ac:spMkLst>
        </pc:spChg>
        <pc:spChg chg="add del mod">
          <ac:chgData name="Ciacci, Aurelia" userId="f09834df-1e97-41e8-bd21-3860a284c5fc" providerId="ADAL" clId="{18FFE5A7-A348-4058-82CE-F26E60DB0D95}" dt="2026-05-11T13:39:11.217" v="11527" actId="478"/>
          <ac:spMkLst>
            <pc:docMk/>
            <pc:sldMk cId="3888305542" sldId="713"/>
            <ac:spMk id="21" creationId="{36854C9F-BA58-77EB-2D52-5BAE59476B06}"/>
          </ac:spMkLst>
        </pc:spChg>
        <pc:spChg chg="add del mod">
          <ac:chgData name="Ciacci, Aurelia" userId="f09834df-1e97-41e8-bd21-3860a284c5fc" providerId="ADAL" clId="{18FFE5A7-A348-4058-82CE-F26E60DB0D95}" dt="2026-05-11T13:39:11.217" v="11527" actId="478"/>
          <ac:spMkLst>
            <pc:docMk/>
            <pc:sldMk cId="3888305542" sldId="713"/>
            <ac:spMk id="22" creationId="{46A5E8ED-B481-F7AF-CE60-EFAD3B38BA6A}"/>
          </ac:spMkLst>
        </pc:spChg>
        <pc:spChg chg="add del mod topLvl">
          <ac:chgData name="Ciacci, Aurelia" userId="f09834df-1e97-41e8-bd21-3860a284c5fc" providerId="ADAL" clId="{18FFE5A7-A348-4058-82CE-F26E60DB0D95}" dt="2026-05-11T13:31:17.623" v="11254" actId="478"/>
          <ac:spMkLst>
            <pc:docMk/>
            <pc:sldMk cId="3888305542" sldId="713"/>
            <ac:spMk id="23" creationId="{C404874A-E2B4-2C54-0513-BAE8F5D02074}"/>
          </ac:spMkLst>
        </pc:spChg>
        <pc:spChg chg="add del mod">
          <ac:chgData name="Ciacci, Aurelia" userId="f09834df-1e97-41e8-bd21-3860a284c5fc" providerId="ADAL" clId="{18FFE5A7-A348-4058-82CE-F26E60DB0D95}" dt="2026-05-11T13:39:08.550" v="11526" actId="478"/>
          <ac:spMkLst>
            <pc:docMk/>
            <pc:sldMk cId="3888305542" sldId="713"/>
            <ac:spMk id="24" creationId="{563C5DA2-AFF8-C2B3-F133-4ED1F719E546}"/>
          </ac:spMkLst>
        </pc:spChg>
        <pc:spChg chg="add del mod topLvl">
          <ac:chgData name="Ciacci, Aurelia" userId="f09834df-1e97-41e8-bd21-3860a284c5fc" providerId="ADAL" clId="{18FFE5A7-A348-4058-82CE-F26E60DB0D95}" dt="2026-05-11T13:31:17.623" v="11254" actId="478"/>
          <ac:spMkLst>
            <pc:docMk/>
            <pc:sldMk cId="3888305542" sldId="713"/>
            <ac:spMk id="25" creationId="{9E0F04D9-0964-CD98-BCA7-5EF417760E62}"/>
          </ac:spMkLst>
        </pc:spChg>
        <pc:spChg chg="add del mod">
          <ac:chgData name="Ciacci, Aurelia" userId="f09834df-1e97-41e8-bd21-3860a284c5fc" providerId="ADAL" clId="{18FFE5A7-A348-4058-82CE-F26E60DB0D95}" dt="2026-05-11T13:39:08.550" v="11526" actId="478"/>
          <ac:spMkLst>
            <pc:docMk/>
            <pc:sldMk cId="3888305542" sldId="713"/>
            <ac:spMk id="26" creationId="{93479A0B-B327-8DD6-1E3F-802AA04CE7C2}"/>
          </ac:spMkLst>
        </pc:spChg>
        <pc:spChg chg="add mod">
          <ac:chgData name="Ciacci, Aurelia" userId="f09834df-1e97-41e8-bd21-3860a284c5fc" providerId="ADAL" clId="{18FFE5A7-A348-4058-82CE-F26E60DB0D95}" dt="2026-05-11T15:18:01.271" v="16749" actId="13926"/>
          <ac:spMkLst>
            <pc:docMk/>
            <pc:sldMk cId="3888305542" sldId="713"/>
            <ac:spMk id="27" creationId="{4949E1D5-DAC4-C354-29C5-CB4F105F26BE}"/>
          </ac:spMkLst>
        </pc:spChg>
        <pc:spChg chg="add del mod">
          <ac:chgData name="Ciacci, Aurelia" userId="f09834df-1e97-41e8-bd21-3860a284c5fc" providerId="ADAL" clId="{18FFE5A7-A348-4058-82CE-F26E60DB0D95}" dt="2026-05-11T13:31:17.623" v="11254" actId="478"/>
          <ac:spMkLst>
            <pc:docMk/>
            <pc:sldMk cId="3888305542" sldId="713"/>
            <ac:spMk id="28" creationId="{69531B5E-5B7B-4D08-8B7C-4E9FF6692CAF}"/>
          </ac:spMkLst>
        </pc:spChg>
        <pc:spChg chg="add mod">
          <ac:chgData name="Ciacci, Aurelia" userId="f09834df-1e97-41e8-bd21-3860a284c5fc" providerId="ADAL" clId="{18FFE5A7-A348-4058-82CE-F26E60DB0D95}" dt="2026-05-11T15:18:04.584" v="16750" actId="20577"/>
          <ac:spMkLst>
            <pc:docMk/>
            <pc:sldMk cId="3888305542" sldId="713"/>
            <ac:spMk id="29" creationId="{88CAC65E-038C-3A98-6AF9-A71AC0E11418}"/>
          </ac:spMkLst>
        </pc:spChg>
        <pc:spChg chg="add del mod">
          <ac:chgData name="Ciacci, Aurelia" userId="f09834df-1e97-41e8-bd21-3860a284c5fc" providerId="ADAL" clId="{18FFE5A7-A348-4058-82CE-F26E60DB0D95}" dt="2026-05-11T13:17:06.710" v="10681" actId="478"/>
          <ac:spMkLst>
            <pc:docMk/>
            <pc:sldMk cId="3888305542" sldId="713"/>
            <ac:spMk id="30" creationId="{65D7D12E-B998-64AA-9C0C-690AA64EAB48}"/>
          </ac:spMkLst>
        </pc:spChg>
        <pc:spChg chg="add del mod">
          <ac:chgData name="Ciacci, Aurelia" userId="f09834df-1e97-41e8-bd21-3860a284c5fc" providerId="ADAL" clId="{18FFE5A7-A348-4058-82CE-F26E60DB0D95}" dt="2026-05-11T13:17:04.712" v="10680" actId="478"/>
          <ac:spMkLst>
            <pc:docMk/>
            <pc:sldMk cId="3888305542" sldId="713"/>
            <ac:spMk id="31" creationId="{9AA80BC3-C1A8-126B-DD49-3D43C3061943}"/>
          </ac:spMkLst>
        </pc:spChg>
        <pc:spChg chg="add del mod">
          <ac:chgData name="Ciacci, Aurelia" userId="f09834df-1e97-41e8-bd21-3860a284c5fc" providerId="ADAL" clId="{18FFE5A7-A348-4058-82CE-F26E60DB0D95}" dt="2026-05-11T13:17:00.692" v="10679" actId="478"/>
          <ac:spMkLst>
            <pc:docMk/>
            <pc:sldMk cId="3888305542" sldId="713"/>
            <ac:spMk id="32" creationId="{5235D66E-AD82-AE9C-8A95-7A9DB90DFA6E}"/>
          </ac:spMkLst>
        </pc:spChg>
        <pc:spChg chg="add mod">
          <ac:chgData name="Ciacci, Aurelia" userId="f09834df-1e97-41e8-bd21-3860a284c5fc" providerId="ADAL" clId="{18FFE5A7-A348-4058-82CE-F26E60DB0D95}" dt="2026-05-11T15:15:27.901" v="16417" actId="1036"/>
          <ac:spMkLst>
            <pc:docMk/>
            <pc:sldMk cId="3888305542" sldId="713"/>
            <ac:spMk id="34" creationId="{3C64A6D9-8EAA-6006-7FBD-7C8C93D24F45}"/>
          </ac:spMkLst>
        </pc:spChg>
        <pc:spChg chg="add del mod">
          <ac:chgData name="Ciacci, Aurelia" userId="f09834df-1e97-41e8-bd21-3860a284c5fc" providerId="ADAL" clId="{18FFE5A7-A348-4058-82CE-F26E60DB0D95}" dt="2026-05-11T13:31:17.623" v="11254" actId="478"/>
          <ac:spMkLst>
            <pc:docMk/>
            <pc:sldMk cId="3888305542" sldId="713"/>
            <ac:spMk id="36" creationId="{27BB4B67-35E9-A3E0-9743-3B39855595F9}"/>
          </ac:spMkLst>
        </pc:spChg>
        <pc:spChg chg="add mod">
          <ac:chgData name="Ciacci, Aurelia" userId="f09834df-1e97-41e8-bd21-3860a284c5fc" providerId="ADAL" clId="{18FFE5A7-A348-4058-82CE-F26E60DB0D95}" dt="2026-05-11T15:15:27.901" v="16417" actId="1036"/>
          <ac:spMkLst>
            <pc:docMk/>
            <pc:sldMk cId="3888305542" sldId="713"/>
            <ac:spMk id="37" creationId="{ED94DCF3-5D41-C1B2-05B4-7247A4344A8A}"/>
          </ac:spMkLst>
        </pc:spChg>
        <pc:spChg chg="add mod">
          <ac:chgData name="Ciacci, Aurelia" userId="f09834df-1e97-41e8-bd21-3860a284c5fc" providerId="ADAL" clId="{18FFE5A7-A348-4058-82CE-F26E60DB0D95}" dt="2026-05-11T15:14:32.530" v="16376" actId="404"/>
          <ac:spMkLst>
            <pc:docMk/>
            <pc:sldMk cId="3888305542" sldId="713"/>
            <ac:spMk id="38" creationId="{63BE0FB6-E7C5-3E76-EEB2-39EC9719CD19}"/>
          </ac:spMkLst>
        </pc:spChg>
        <pc:spChg chg="add mod">
          <ac:chgData name="Ciacci, Aurelia" userId="f09834df-1e97-41e8-bd21-3860a284c5fc" providerId="ADAL" clId="{18FFE5A7-A348-4058-82CE-F26E60DB0D95}" dt="2026-05-11T13:45:52.326" v="11902" actId="2711"/>
          <ac:spMkLst>
            <pc:docMk/>
            <pc:sldMk cId="3888305542" sldId="713"/>
            <ac:spMk id="39" creationId="{D34F5594-F3F9-1936-1570-382FBA704E2A}"/>
          </ac:spMkLst>
        </pc:spChg>
        <pc:grpChg chg="add del mod">
          <ac:chgData name="Ciacci, Aurelia" userId="f09834df-1e97-41e8-bd21-3860a284c5fc" providerId="ADAL" clId="{18FFE5A7-A348-4058-82CE-F26E60DB0D95}" dt="2026-05-11T13:36:10.012" v="11344" actId="165"/>
          <ac:grpSpMkLst>
            <pc:docMk/>
            <pc:sldMk cId="3888305542" sldId="713"/>
            <ac:grpSpMk id="18" creationId="{CB28C0A3-A18D-2A50-449C-A608020C0702}"/>
          </ac:grpSpMkLst>
        </pc:grpChg>
        <pc:cxnChg chg="add del mod">
          <ac:chgData name="Ciacci, Aurelia" userId="f09834df-1e97-41e8-bd21-3860a284c5fc" providerId="ADAL" clId="{18FFE5A7-A348-4058-82CE-F26E60DB0D95}" dt="2026-05-11T13:17:12.827" v="10684" actId="478"/>
          <ac:cxnSpMkLst>
            <pc:docMk/>
            <pc:sldMk cId="3888305542" sldId="713"/>
            <ac:cxnSpMk id="19" creationId="{193014DA-D352-F709-6406-065B35C8A387}"/>
          </ac:cxnSpMkLst>
        </pc:cxnChg>
        <pc:cxnChg chg="add del mod">
          <ac:chgData name="Ciacci, Aurelia" userId="f09834df-1e97-41e8-bd21-3860a284c5fc" providerId="ADAL" clId="{18FFE5A7-A348-4058-82CE-F26E60DB0D95}" dt="2026-05-11T13:37:23.878" v="11434" actId="478"/>
          <ac:cxnSpMkLst>
            <pc:docMk/>
            <pc:sldMk cId="3888305542" sldId="713"/>
            <ac:cxnSpMk id="33" creationId="{DB088913-795B-C505-889A-6058F447785E}"/>
          </ac:cxnSpMkLst>
        </pc:cxnChg>
        <pc:cxnChg chg="add del mod">
          <ac:chgData name="Ciacci, Aurelia" userId="f09834df-1e97-41e8-bd21-3860a284c5fc" providerId="ADAL" clId="{18FFE5A7-A348-4058-82CE-F26E60DB0D95}" dt="2026-05-11T13:17:08.425" v="10682" actId="478"/>
          <ac:cxnSpMkLst>
            <pc:docMk/>
            <pc:sldMk cId="3888305542" sldId="713"/>
            <ac:cxnSpMk id="35" creationId="{13CEFA15-1874-0E0B-1628-8FEF676A6C3C}"/>
          </ac:cxnSpMkLst>
        </pc:cxnChg>
      </pc:sldChg>
      <pc:sldChg chg="addSp delSp modSp add del mod">
        <pc:chgData name="Ciacci, Aurelia" userId="f09834df-1e97-41e8-bd21-3860a284c5fc" providerId="ADAL" clId="{18FFE5A7-A348-4058-82CE-F26E60DB0D95}" dt="2026-05-11T14:01:48.717" v="12801" actId="47"/>
        <pc:sldMkLst>
          <pc:docMk/>
          <pc:sldMk cId="922259306" sldId="714"/>
        </pc:sldMkLst>
        <pc:spChg chg="add mod">
          <ac:chgData name="Ciacci, Aurelia" userId="f09834df-1e97-41e8-bd21-3860a284c5fc" providerId="ADAL" clId="{18FFE5A7-A348-4058-82CE-F26E60DB0D95}" dt="2026-05-11T09:16:18.251" v="10674" actId="13926"/>
          <ac:spMkLst>
            <pc:docMk/>
            <pc:sldMk cId="922259306" sldId="714"/>
            <ac:spMk id="10" creationId="{C392AEA2-B759-85D6-2D20-389B115CEF75}"/>
          </ac:spMkLst>
        </pc:spChg>
      </pc:sldChg>
      <pc:sldChg chg="addSp delSp modSp add del mod">
        <pc:chgData name="Ciacci, Aurelia" userId="f09834df-1e97-41e8-bd21-3860a284c5fc" providerId="ADAL" clId="{18FFE5A7-A348-4058-82CE-F26E60DB0D95}" dt="2026-05-11T14:04:37.230" v="12959" actId="47"/>
        <pc:sldMkLst>
          <pc:docMk/>
          <pc:sldMk cId="2424076678" sldId="715"/>
        </pc:sldMkLst>
      </pc:sldChg>
      <pc:sldChg chg="addSp delSp modSp add mod">
        <pc:chgData name="Ciacci, Aurelia" userId="f09834df-1e97-41e8-bd21-3860a284c5fc" providerId="ADAL" clId="{18FFE5A7-A348-4058-82CE-F26E60DB0D95}" dt="2026-05-11T13:30:58.362" v="11252" actId="207"/>
        <pc:sldMkLst>
          <pc:docMk/>
          <pc:sldMk cId="3505980646" sldId="716"/>
        </pc:sldMkLst>
        <pc:spChg chg="add mod">
          <ac:chgData name="Ciacci, Aurelia" userId="f09834df-1e97-41e8-bd21-3860a284c5fc" providerId="ADAL" clId="{18FFE5A7-A348-4058-82CE-F26E60DB0D95}" dt="2026-05-07T16:12:02.543" v="9234" actId="1035"/>
          <ac:spMkLst>
            <pc:docMk/>
            <pc:sldMk cId="3505980646" sldId="716"/>
            <ac:spMk id="8" creationId="{38C28CAA-C3B4-A055-6550-094DDE73CB41}"/>
          </ac:spMkLst>
        </pc:spChg>
        <pc:spChg chg="add mod">
          <ac:chgData name="Ciacci, Aurelia" userId="f09834df-1e97-41e8-bd21-3860a284c5fc" providerId="ADAL" clId="{18FFE5A7-A348-4058-82CE-F26E60DB0D95}" dt="2026-05-07T16:12:02.543" v="9234" actId="1035"/>
          <ac:spMkLst>
            <pc:docMk/>
            <pc:sldMk cId="3505980646" sldId="716"/>
            <ac:spMk id="10" creationId="{611CD3D0-9F14-1A48-7468-E6ACBF4B0EED}"/>
          </ac:spMkLst>
        </pc:spChg>
        <pc:spChg chg="mod">
          <ac:chgData name="Ciacci, Aurelia" userId="f09834df-1e97-41e8-bd21-3860a284c5fc" providerId="ADAL" clId="{18FFE5A7-A348-4058-82CE-F26E60DB0D95}" dt="2026-05-07T16:13:51.687" v="9269"/>
          <ac:spMkLst>
            <pc:docMk/>
            <pc:sldMk cId="3505980646" sldId="716"/>
            <ac:spMk id="48" creationId="{3BA0DEB3-79A5-CFCB-D463-5E28BDC44755}"/>
          </ac:spMkLst>
        </pc:spChg>
        <pc:spChg chg="mod">
          <ac:chgData name="Ciacci, Aurelia" userId="f09834df-1e97-41e8-bd21-3860a284c5fc" providerId="ADAL" clId="{18FFE5A7-A348-4058-82CE-F26E60DB0D95}" dt="2026-05-11T13:30:17.590" v="11246" actId="207"/>
          <ac:spMkLst>
            <pc:docMk/>
            <pc:sldMk cId="3505980646" sldId="716"/>
            <ac:spMk id="51" creationId="{595B89DB-D4D1-639B-98C0-D7804A1F1B49}"/>
          </ac:spMkLst>
        </pc:spChg>
        <pc:spChg chg="mod">
          <ac:chgData name="Ciacci, Aurelia" userId="f09834df-1e97-41e8-bd21-3860a284c5fc" providerId="ADAL" clId="{18FFE5A7-A348-4058-82CE-F26E60DB0D95}" dt="2026-05-07T16:13:51.687" v="9269"/>
          <ac:spMkLst>
            <pc:docMk/>
            <pc:sldMk cId="3505980646" sldId="716"/>
            <ac:spMk id="54" creationId="{6E2D4162-19DA-24BD-422B-13936B54C3C6}"/>
          </ac:spMkLst>
        </pc:spChg>
        <pc:spChg chg="mod">
          <ac:chgData name="Ciacci, Aurelia" userId="f09834df-1e97-41e8-bd21-3860a284c5fc" providerId="ADAL" clId="{18FFE5A7-A348-4058-82CE-F26E60DB0D95}" dt="2026-05-07T16:13:51.687" v="9269"/>
          <ac:spMkLst>
            <pc:docMk/>
            <pc:sldMk cId="3505980646" sldId="716"/>
            <ac:spMk id="56" creationId="{3026F05F-68EF-5A12-DBAF-5FB09DA0549F}"/>
          </ac:spMkLst>
        </pc:spChg>
        <pc:spChg chg="mod">
          <ac:chgData name="Ciacci, Aurelia" userId="f09834df-1e97-41e8-bd21-3860a284c5fc" providerId="ADAL" clId="{18FFE5A7-A348-4058-82CE-F26E60DB0D95}" dt="2026-05-11T13:30:35.814" v="11249" actId="207"/>
          <ac:spMkLst>
            <pc:docMk/>
            <pc:sldMk cId="3505980646" sldId="716"/>
            <ac:spMk id="58" creationId="{B7D54A8E-5580-F7CD-D983-C5E3917C449E}"/>
          </ac:spMkLst>
        </pc:spChg>
        <pc:spChg chg="mod">
          <ac:chgData name="Ciacci, Aurelia" userId="f09834df-1e97-41e8-bd21-3860a284c5fc" providerId="ADAL" clId="{18FFE5A7-A348-4058-82CE-F26E60DB0D95}" dt="2026-05-07T16:13:51.687" v="9269"/>
          <ac:spMkLst>
            <pc:docMk/>
            <pc:sldMk cId="3505980646" sldId="716"/>
            <ac:spMk id="59" creationId="{04485279-1840-6240-1549-D8819905C614}"/>
          </ac:spMkLst>
        </pc:spChg>
        <pc:spChg chg="mod">
          <ac:chgData name="Ciacci, Aurelia" userId="f09834df-1e97-41e8-bd21-3860a284c5fc" providerId="ADAL" clId="{18FFE5A7-A348-4058-82CE-F26E60DB0D95}" dt="2026-05-07T16:13:51.687" v="9269"/>
          <ac:spMkLst>
            <pc:docMk/>
            <pc:sldMk cId="3505980646" sldId="716"/>
            <ac:spMk id="61" creationId="{E1B8487D-0FBB-C333-BE4A-701B2A897C5B}"/>
          </ac:spMkLst>
        </pc:spChg>
        <pc:spChg chg="mod">
          <ac:chgData name="Ciacci, Aurelia" userId="f09834df-1e97-41e8-bd21-3860a284c5fc" providerId="ADAL" clId="{18FFE5A7-A348-4058-82CE-F26E60DB0D95}" dt="2026-05-07T16:13:51.687" v="9269"/>
          <ac:spMkLst>
            <pc:docMk/>
            <pc:sldMk cId="3505980646" sldId="716"/>
            <ac:spMk id="62" creationId="{CE638D8E-225D-6F02-DB94-207E1C72442B}"/>
          </ac:spMkLst>
        </pc:spChg>
        <pc:spChg chg="mod">
          <ac:chgData name="Ciacci, Aurelia" userId="f09834df-1e97-41e8-bd21-3860a284c5fc" providerId="ADAL" clId="{18FFE5A7-A348-4058-82CE-F26E60DB0D95}" dt="2026-05-07T16:13:51.687" v="9269"/>
          <ac:spMkLst>
            <pc:docMk/>
            <pc:sldMk cId="3505980646" sldId="716"/>
            <ac:spMk id="63" creationId="{4BC15324-06C3-F929-842F-BC51CBC92893}"/>
          </ac:spMkLst>
        </pc:spChg>
        <pc:spChg chg="mod">
          <ac:chgData name="Ciacci, Aurelia" userId="f09834df-1e97-41e8-bd21-3860a284c5fc" providerId="ADAL" clId="{18FFE5A7-A348-4058-82CE-F26E60DB0D95}" dt="2026-05-07T16:13:51.687" v="9269"/>
          <ac:spMkLst>
            <pc:docMk/>
            <pc:sldMk cId="3505980646" sldId="716"/>
            <ac:spMk id="64" creationId="{31209731-22BB-BD52-F5D0-34FD5E5498F5}"/>
          </ac:spMkLst>
        </pc:spChg>
        <pc:spChg chg="mod">
          <ac:chgData name="Ciacci, Aurelia" userId="f09834df-1e97-41e8-bd21-3860a284c5fc" providerId="ADAL" clId="{18FFE5A7-A348-4058-82CE-F26E60DB0D95}" dt="2026-05-11T13:30:58.362" v="11252" actId="207"/>
          <ac:spMkLst>
            <pc:docMk/>
            <pc:sldMk cId="3505980646" sldId="716"/>
            <ac:spMk id="65" creationId="{00ADE32B-EDFB-EB19-DA2D-A93F14CA4BE3}"/>
          </ac:spMkLst>
        </pc:spChg>
        <pc:spChg chg="mod">
          <ac:chgData name="Ciacci, Aurelia" userId="f09834df-1e97-41e8-bd21-3860a284c5fc" providerId="ADAL" clId="{18FFE5A7-A348-4058-82CE-F26E60DB0D95}" dt="2026-05-07T16:13:51.687" v="9269"/>
          <ac:spMkLst>
            <pc:docMk/>
            <pc:sldMk cId="3505980646" sldId="716"/>
            <ac:spMk id="66" creationId="{A2365CB6-1199-949A-DA5C-F9FB8DB8FBF0}"/>
          </ac:spMkLst>
        </pc:spChg>
        <pc:spChg chg="add mod">
          <ac:chgData name="Ciacci, Aurelia" userId="f09834df-1e97-41e8-bd21-3860a284c5fc" providerId="ADAL" clId="{18FFE5A7-A348-4058-82CE-F26E60DB0D95}" dt="2026-05-07T16:15:48.605" v="9440" actId="20577"/>
          <ac:spMkLst>
            <pc:docMk/>
            <pc:sldMk cId="3505980646" sldId="716"/>
            <ac:spMk id="67" creationId="{82D38194-B219-1F37-3E1E-485236A7C8D2}"/>
          </ac:spMkLst>
        </pc:spChg>
        <pc:spChg chg="add mod">
          <ac:chgData name="Ciacci, Aurelia" userId="f09834df-1e97-41e8-bd21-3860a284c5fc" providerId="ADAL" clId="{18FFE5A7-A348-4058-82CE-F26E60DB0D95}" dt="2026-05-07T16:16:03.059" v="9443" actId="207"/>
          <ac:spMkLst>
            <pc:docMk/>
            <pc:sldMk cId="3505980646" sldId="716"/>
            <ac:spMk id="68" creationId="{6D2F3342-4CB6-8C01-0177-4DD4E6688B21}"/>
          </ac:spMkLst>
        </pc:spChg>
        <pc:spChg chg="add mod">
          <ac:chgData name="Ciacci, Aurelia" userId="f09834df-1e97-41e8-bd21-3860a284c5fc" providerId="ADAL" clId="{18FFE5A7-A348-4058-82CE-F26E60DB0D95}" dt="2026-05-07T16:16:28.217" v="9472" actId="207"/>
          <ac:spMkLst>
            <pc:docMk/>
            <pc:sldMk cId="3505980646" sldId="716"/>
            <ac:spMk id="69" creationId="{16573C55-96E9-E99D-1F47-17DD4B597163}"/>
          </ac:spMkLst>
        </pc:spChg>
        <pc:spChg chg="add mod">
          <ac:chgData name="Ciacci, Aurelia" userId="f09834df-1e97-41e8-bd21-3860a284c5fc" providerId="ADAL" clId="{18FFE5A7-A348-4058-82CE-F26E60DB0D95}" dt="2026-05-07T16:17:01.980" v="9478" actId="1076"/>
          <ac:spMkLst>
            <pc:docMk/>
            <pc:sldMk cId="3505980646" sldId="716"/>
            <ac:spMk id="70" creationId="{49E5DEA2-C34C-01F1-3E08-B21D882E2816}"/>
          </ac:spMkLst>
        </pc:spChg>
        <pc:spChg chg="add mod">
          <ac:chgData name="Ciacci, Aurelia" userId="f09834df-1e97-41e8-bd21-3860a284c5fc" providerId="ADAL" clId="{18FFE5A7-A348-4058-82CE-F26E60DB0D95}" dt="2026-05-07T16:23:15.798" v="9725" actId="1076"/>
          <ac:spMkLst>
            <pc:docMk/>
            <pc:sldMk cId="3505980646" sldId="716"/>
            <ac:spMk id="71" creationId="{316DF6A8-61F0-5C6B-F166-8967DD0F44C6}"/>
          </ac:spMkLst>
        </pc:spChg>
        <pc:spChg chg="add mod">
          <ac:chgData name="Ciacci, Aurelia" userId="f09834df-1e97-41e8-bd21-3860a284c5fc" providerId="ADAL" clId="{18FFE5A7-A348-4058-82CE-F26E60DB0D95}" dt="2026-05-07T16:23:20.697" v="9726" actId="1076"/>
          <ac:spMkLst>
            <pc:docMk/>
            <pc:sldMk cId="3505980646" sldId="716"/>
            <ac:spMk id="72" creationId="{B5C83257-FB79-0B1C-4F3B-7297AD6A8FB7}"/>
          </ac:spMkLst>
        </pc:spChg>
        <pc:grpChg chg="mod">
          <ac:chgData name="Ciacci, Aurelia" userId="f09834df-1e97-41e8-bd21-3860a284c5fc" providerId="ADAL" clId="{18FFE5A7-A348-4058-82CE-F26E60DB0D95}" dt="2026-05-07T16:13:54.184" v="9270" actId="1076"/>
          <ac:grpSpMkLst>
            <pc:docMk/>
            <pc:sldMk cId="3505980646" sldId="716"/>
            <ac:grpSpMk id="46" creationId="{BAF9A3CE-BA71-082C-8F29-23431903B0B6}"/>
          </ac:grpSpMkLst>
        </pc:grpChg>
        <pc:grpChg chg="mod">
          <ac:chgData name="Ciacci, Aurelia" userId="f09834df-1e97-41e8-bd21-3860a284c5fc" providerId="ADAL" clId="{18FFE5A7-A348-4058-82CE-F26E60DB0D95}" dt="2026-05-07T16:13:57.300" v="9292" actId="1035"/>
          <ac:grpSpMkLst>
            <pc:docMk/>
            <pc:sldMk cId="3505980646" sldId="716"/>
            <ac:grpSpMk id="53" creationId="{FBA61E5C-8E0E-57F6-E3AC-AF60C0C45AFA}"/>
          </ac:grpSpMkLst>
        </pc:grpChg>
        <pc:grpChg chg="mod">
          <ac:chgData name="Ciacci, Aurelia" userId="f09834df-1e97-41e8-bd21-3860a284c5fc" providerId="ADAL" clId="{18FFE5A7-A348-4058-82CE-F26E60DB0D95}" dt="2026-05-07T16:14:02.410" v="9333" actId="1035"/>
          <ac:grpSpMkLst>
            <pc:docMk/>
            <pc:sldMk cId="3505980646" sldId="716"/>
            <ac:grpSpMk id="60" creationId="{4CC1B30C-A216-D29E-B22F-1054EEC05943}"/>
          </ac:grpSpMkLst>
        </pc:grpChg>
      </pc:sldChg>
      <pc:sldChg chg="modSp add del mod">
        <pc:chgData name="Ciacci, Aurelia" userId="f09834df-1e97-41e8-bd21-3860a284c5fc" providerId="ADAL" clId="{18FFE5A7-A348-4058-82CE-F26E60DB0D95}" dt="2026-05-11T13:47:35.284" v="12067" actId="47"/>
        <pc:sldMkLst>
          <pc:docMk/>
          <pc:sldMk cId="2440541180" sldId="719"/>
        </pc:sldMkLst>
        <pc:spChg chg="mod">
          <ac:chgData name="Ciacci, Aurelia" userId="f09834df-1e97-41e8-bd21-3860a284c5fc" providerId="ADAL" clId="{18FFE5A7-A348-4058-82CE-F26E60DB0D95}" dt="2026-05-11T13:16:49.350" v="10678" actId="1035"/>
          <ac:spMkLst>
            <pc:docMk/>
            <pc:sldMk cId="2440541180" sldId="719"/>
            <ac:spMk id="32" creationId="{B3D3163E-1BC4-C630-7698-AF7552E9B8B7}"/>
          </ac:spMkLst>
        </pc:spChg>
      </pc:sldChg>
      <pc:sldChg chg="addSp delSp modSp add del mod">
        <pc:chgData name="Ciacci, Aurelia" userId="f09834df-1e97-41e8-bd21-3860a284c5fc" providerId="ADAL" clId="{18FFE5A7-A348-4058-82CE-F26E60DB0D95}" dt="2026-05-11T13:43:42.716" v="11699" actId="47"/>
        <pc:sldMkLst>
          <pc:docMk/>
          <pc:sldMk cId="113821237" sldId="720"/>
        </pc:sldMkLst>
        <pc:spChg chg="mod topLvl">
          <ac:chgData name="Ciacci, Aurelia" userId="f09834df-1e97-41e8-bd21-3860a284c5fc" providerId="ADAL" clId="{18FFE5A7-A348-4058-82CE-F26E60DB0D95}" dt="2026-05-11T13:30:21.912" v="11247" actId="207"/>
          <ac:spMkLst>
            <pc:docMk/>
            <pc:sldMk cId="113821237" sldId="720"/>
            <ac:spMk id="5" creationId="{B4140BED-0AF7-D44B-83A6-DEE3B3091F88}"/>
          </ac:spMkLst>
        </pc:spChg>
        <pc:spChg chg="mod">
          <ac:chgData name="Ciacci, Aurelia" userId="f09834df-1e97-41e8-bd21-3860a284c5fc" providerId="ADAL" clId="{18FFE5A7-A348-4058-82CE-F26E60DB0D95}" dt="2026-05-11T13:21:21.884" v="10851" actId="1035"/>
          <ac:spMkLst>
            <pc:docMk/>
            <pc:sldMk cId="113821237" sldId="720"/>
            <ac:spMk id="7" creationId="{FA428FE9-57C1-971D-BD0F-9979D7E3A6A5}"/>
          </ac:spMkLst>
        </pc:spChg>
        <pc:spChg chg="add mod">
          <ac:chgData name="Ciacci, Aurelia" userId="f09834df-1e97-41e8-bd21-3860a284c5fc" providerId="ADAL" clId="{18FFE5A7-A348-4058-82CE-F26E60DB0D95}" dt="2026-05-11T13:22:51.325" v="11022" actId="2711"/>
          <ac:spMkLst>
            <pc:docMk/>
            <pc:sldMk cId="113821237" sldId="720"/>
            <ac:spMk id="8" creationId="{07A1465D-71E7-5B4E-174B-32B1A30D5FE9}"/>
          </ac:spMkLst>
        </pc:spChg>
        <pc:spChg chg="add mod topLvl">
          <ac:chgData name="Ciacci, Aurelia" userId="f09834df-1e97-41e8-bd21-3860a284c5fc" providerId="ADAL" clId="{18FFE5A7-A348-4058-82CE-F26E60DB0D95}" dt="2026-05-11T13:30:41.759" v="11250" actId="207"/>
          <ac:spMkLst>
            <pc:docMk/>
            <pc:sldMk cId="113821237" sldId="720"/>
            <ac:spMk id="9" creationId="{B409DF21-BBEE-7D17-72E9-52C849F24118}"/>
          </ac:spMkLst>
        </pc:spChg>
        <pc:spChg chg="mod topLvl">
          <ac:chgData name="Ciacci, Aurelia" userId="f09834df-1e97-41e8-bd21-3860a284c5fc" providerId="ADAL" clId="{18FFE5A7-A348-4058-82CE-F26E60DB0D95}" dt="2026-05-11T13:30:24.372" v="11248" actId="207"/>
          <ac:spMkLst>
            <pc:docMk/>
            <pc:sldMk cId="113821237" sldId="720"/>
            <ac:spMk id="10" creationId="{7AE05486-0376-1564-8D92-F25716C4D1D1}"/>
          </ac:spMkLst>
        </pc:spChg>
        <pc:spChg chg="del">
          <ac:chgData name="Ciacci, Aurelia" userId="f09834df-1e97-41e8-bd21-3860a284c5fc" providerId="ADAL" clId="{18FFE5A7-A348-4058-82CE-F26E60DB0D95}" dt="2026-05-11T13:20:07.778" v="10825" actId="478"/>
          <ac:spMkLst>
            <pc:docMk/>
            <pc:sldMk cId="113821237" sldId="720"/>
            <ac:spMk id="11" creationId="{2D6C12FB-67C5-EBD9-83BF-ECE38BB97042}"/>
          </ac:spMkLst>
        </pc:spChg>
        <pc:spChg chg="del">
          <ac:chgData name="Ciacci, Aurelia" userId="f09834df-1e97-41e8-bd21-3860a284c5fc" providerId="ADAL" clId="{18FFE5A7-A348-4058-82CE-F26E60DB0D95}" dt="2026-05-11T13:20:07.778" v="10825" actId="478"/>
          <ac:spMkLst>
            <pc:docMk/>
            <pc:sldMk cId="113821237" sldId="720"/>
            <ac:spMk id="13" creationId="{11DB0F67-2033-8D94-DF92-1921263B5581}"/>
          </ac:spMkLst>
        </pc:spChg>
        <pc:spChg chg="add mod topLvl">
          <ac:chgData name="Ciacci, Aurelia" userId="f09834df-1e97-41e8-bd21-3860a284c5fc" providerId="ADAL" clId="{18FFE5A7-A348-4058-82CE-F26E60DB0D95}" dt="2026-05-11T13:30:44.207" v="11251" actId="207"/>
          <ac:spMkLst>
            <pc:docMk/>
            <pc:sldMk cId="113821237" sldId="720"/>
            <ac:spMk id="14" creationId="{FF4F8053-6AFF-155C-344C-EE0ED670C4D0}"/>
          </ac:spMkLst>
        </pc:spChg>
        <pc:spChg chg="add mod topLvl">
          <ac:chgData name="Ciacci, Aurelia" userId="f09834df-1e97-41e8-bd21-3860a284c5fc" providerId="ADAL" clId="{18FFE5A7-A348-4058-82CE-F26E60DB0D95}" dt="2026-05-11T13:31:02.269" v="11253" actId="207"/>
          <ac:spMkLst>
            <pc:docMk/>
            <pc:sldMk cId="113821237" sldId="720"/>
            <ac:spMk id="15" creationId="{0A518DC0-96F0-67FA-3928-790C684B9699}"/>
          </ac:spMkLst>
        </pc:spChg>
        <pc:spChg chg="add mod topLvl">
          <ac:chgData name="Ciacci, Aurelia" userId="f09834df-1e97-41e8-bd21-3860a284c5fc" providerId="ADAL" clId="{18FFE5A7-A348-4058-82CE-F26E60DB0D95}" dt="2026-05-11T13:25:11.388" v="11128" actId="165"/>
          <ac:spMkLst>
            <pc:docMk/>
            <pc:sldMk cId="113821237" sldId="720"/>
            <ac:spMk id="16" creationId="{DE0C7355-3F3F-7AA5-2525-459C97191A5C}"/>
          </ac:spMkLst>
        </pc:spChg>
        <pc:spChg chg="del">
          <ac:chgData name="Ciacci, Aurelia" userId="f09834df-1e97-41e8-bd21-3860a284c5fc" providerId="ADAL" clId="{18FFE5A7-A348-4058-82CE-F26E60DB0D95}" dt="2026-05-11T13:20:01.519" v="10824" actId="478"/>
          <ac:spMkLst>
            <pc:docMk/>
            <pc:sldMk cId="113821237" sldId="720"/>
            <ac:spMk id="23" creationId="{9D2A7FEB-723E-B61B-A944-6CAC22E73F56}"/>
          </ac:spMkLst>
        </pc:spChg>
        <pc:spChg chg="del">
          <ac:chgData name="Ciacci, Aurelia" userId="f09834df-1e97-41e8-bd21-3860a284c5fc" providerId="ADAL" clId="{18FFE5A7-A348-4058-82CE-F26E60DB0D95}" dt="2026-05-11T13:20:01.519" v="10824" actId="478"/>
          <ac:spMkLst>
            <pc:docMk/>
            <pc:sldMk cId="113821237" sldId="720"/>
            <ac:spMk id="25" creationId="{3E88977A-DDA1-377E-3208-6DC5CE625AEC}"/>
          </ac:spMkLst>
        </pc:spChg>
        <pc:spChg chg="del">
          <ac:chgData name="Ciacci, Aurelia" userId="f09834df-1e97-41e8-bd21-3860a284c5fc" providerId="ADAL" clId="{18FFE5A7-A348-4058-82CE-F26E60DB0D95}" dt="2026-05-11T13:20:01.519" v="10824" actId="478"/>
          <ac:spMkLst>
            <pc:docMk/>
            <pc:sldMk cId="113821237" sldId="720"/>
            <ac:spMk id="28" creationId="{F283DE4D-2EEE-894E-8165-9D837C41E21A}"/>
          </ac:spMkLst>
        </pc:spChg>
        <pc:spChg chg="del">
          <ac:chgData name="Ciacci, Aurelia" userId="f09834df-1e97-41e8-bd21-3860a284c5fc" providerId="ADAL" clId="{18FFE5A7-A348-4058-82CE-F26E60DB0D95}" dt="2026-05-11T13:20:01.519" v="10824" actId="478"/>
          <ac:spMkLst>
            <pc:docMk/>
            <pc:sldMk cId="113821237" sldId="720"/>
            <ac:spMk id="30" creationId="{673EAB1D-52FE-918F-2147-FFD4E334061E}"/>
          </ac:spMkLst>
        </pc:spChg>
        <pc:spChg chg="del">
          <ac:chgData name="Ciacci, Aurelia" userId="f09834df-1e97-41e8-bd21-3860a284c5fc" providerId="ADAL" clId="{18FFE5A7-A348-4058-82CE-F26E60DB0D95}" dt="2026-05-11T13:20:01.519" v="10824" actId="478"/>
          <ac:spMkLst>
            <pc:docMk/>
            <pc:sldMk cId="113821237" sldId="720"/>
            <ac:spMk id="31" creationId="{37D02D6F-3557-3EE9-FAFC-3C2330489E26}"/>
          </ac:spMkLst>
        </pc:spChg>
        <pc:spChg chg="del">
          <ac:chgData name="Ciacci, Aurelia" userId="f09834df-1e97-41e8-bd21-3860a284c5fc" providerId="ADAL" clId="{18FFE5A7-A348-4058-82CE-F26E60DB0D95}" dt="2026-05-11T13:20:01.519" v="10824" actId="478"/>
          <ac:spMkLst>
            <pc:docMk/>
            <pc:sldMk cId="113821237" sldId="720"/>
            <ac:spMk id="32" creationId="{4FC92AC7-068B-8678-2D9B-041EC1E152AB}"/>
          </ac:spMkLst>
        </pc:spChg>
        <pc:spChg chg="del">
          <ac:chgData name="Ciacci, Aurelia" userId="f09834df-1e97-41e8-bd21-3860a284c5fc" providerId="ADAL" clId="{18FFE5A7-A348-4058-82CE-F26E60DB0D95}" dt="2026-05-11T13:20:01.519" v="10824" actId="478"/>
          <ac:spMkLst>
            <pc:docMk/>
            <pc:sldMk cId="113821237" sldId="720"/>
            <ac:spMk id="36" creationId="{2778095F-7C63-E854-3428-8A34335C67C0}"/>
          </ac:spMkLst>
        </pc:spChg>
        <pc:grpChg chg="add del mod">
          <ac:chgData name="Ciacci, Aurelia" userId="f09834df-1e97-41e8-bd21-3860a284c5fc" providerId="ADAL" clId="{18FFE5A7-A348-4058-82CE-F26E60DB0D95}" dt="2026-05-11T13:25:06.305" v="11126" actId="165"/>
          <ac:grpSpMkLst>
            <pc:docMk/>
            <pc:sldMk cId="113821237" sldId="720"/>
            <ac:grpSpMk id="20" creationId="{11F607AB-7492-4E3D-57F7-7527598C14F9}"/>
          </ac:grpSpMkLst>
        </pc:grpChg>
        <pc:grpChg chg="add del mod">
          <ac:chgData name="Ciacci, Aurelia" userId="f09834df-1e97-41e8-bd21-3860a284c5fc" providerId="ADAL" clId="{18FFE5A7-A348-4058-82CE-F26E60DB0D95}" dt="2026-05-11T13:25:08.941" v="11127" actId="165"/>
          <ac:grpSpMkLst>
            <pc:docMk/>
            <pc:sldMk cId="113821237" sldId="720"/>
            <ac:grpSpMk id="21" creationId="{577FE7A8-EAA0-419C-3DF8-D2C7FCBF29E7}"/>
          </ac:grpSpMkLst>
        </pc:grpChg>
        <pc:grpChg chg="add del mod">
          <ac:chgData name="Ciacci, Aurelia" userId="f09834df-1e97-41e8-bd21-3860a284c5fc" providerId="ADAL" clId="{18FFE5A7-A348-4058-82CE-F26E60DB0D95}" dt="2026-05-11T13:25:11.388" v="11128" actId="165"/>
          <ac:grpSpMkLst>
            <pc:docMk/>
            <pc:sldMk cId="113821237" sldId="720"/>
            <ac:grpSpMk id="22" creationId="{28CC5FD7-0C56-F50D-C5F7-33240B294B3F}"/>
          </ac:grpSpMkLst>
        </pc:grpChg>
        <pc:cxnChg chg="add mod">
          <ac:chgData name="Ciacci, Aurelia" userId="f09834df-1e97-41e8-bd21-3860a284c5fc" providerId="ADAL" clId="{18FFE5A7-A348-4058-82CE-F26E60DB0D95}" dt="2026-05-11T13:24:45.357" v="11115" actId="1038"/>
          <ac:cxnSpMkLst>
            <pc:docMk/>
            <pc:sldMk cId="113821237" sldId="720"/>
            <ac:cxnSpMk id="17" creationId="{C7B8CCBB-0C06-BD53-5176-B7F48666F5AD}"/>
          </ac:cxnSpMkLst>
        </pc:cxnChg>
        <pc:cxnChg chg="add mod">
          <ac:chgData name="Ciacci, Aurelia" userId="f09834df-1e97-41e8-bd21-3860a284c5fc" providerId="ADAL" clId="{18FFE5A7-A348-4058-82CE-F26E60DB0D95}" dt="2026-05-11T13:24:47.738" v="11118" actId="1038"/>
          <ac:cxnSpMkLst>
            <pc:docMk/>
            <pc:sldMk cId="113821237" sldId="720"/>
            <ac:cxnSpMk id="18" creationId="{FFF7EA30-E42A-684B-E8FE-2FB7ECCF14D2}"/>
          </ac:cxnSpMkLst>
        </pc:cxnChg>
        <pc:cxnChg chg="del">
          <ac:chgData name="Ciacci, Aurelia" userId="f09834df-1e97-41e8-bd21-3860a284c5fc" providerId="ADAL" clId="{18FFE5A7-A348-4058-82CE-F26E60DB0D95}" dt="2026-05-11T13:20:01.519" v="10824" actId="478"/>
          <ac:cxnSpMkLst>
            <pc:docMk/>
            <pc:sldMk cId="113821237" sldId="720"/>
            <ac:cxnSpMk id="19" creationId="{478B81E2-5E30-B7BA-8A2B-3FB6A4BE3016}"/>
          </ac:cxnSpMkLst>
        </pc:cxnChg>
        <pc:cxnChg chg="del">
          <ac:chgData name="Ciacci, Aurelia" userId="f09834df-1e97-41e8-bd21-3860a284c5fc" providerId="ADAL" clId="{18FFE5A7-A348-4058-82CE-F26E60DB0D95}" dt="2026-05-11T13:20:01.519" v="10824" actId="478"/>
          <ac:cxnSpMkLst>
            <pc:docMk/>
            <pc:sldMk cId="113821237" sldId="720"/>
            <ac:cxnSpMk id="33" creationId="{CD64AC77-8DB2-EFF5-1894-8292D4F1B14F}"/>
          </ac:cxnSpMkLst>
        </pc:cxnChg>
        <pc:cxnChg chg="del">
          <ac:chgData name="Ciacci, Aurelia" userId="f09834df-1e97-41e8-bd21-3860a284c5fc" providerId="ADAL" clId="{18FFE5A7-A348-4058-82CE-F26E60DB0D95}" dt="2026-05-11T13:20:01.519" v="10824" actId="478"/>
          <ac:cxnSpMkLst>
            <pc:docMk/>
            <pc:sldMk cId="113821237" sldId="720"/>
            <ac:cxnSpMk id="35" creationId="{B4B78477-0208-0836-CBE3-1D374CF04640}"/>
          </ac:cxnSpMkLst>
        </pc:cxnChg>
      </pc:sldChg>
      <pc:sldChg chg="modSp add del mod modNotes">
        <pc:chgData name="Ciacci, Aurelia" userId="f09834df-1e97-41e8-bd21-3860a284c5fc" providerId="ADAL" clId="{18FFE5A7-A348-4058-82CE-F26E60DB0D95}" dt="2026-05-11T13:43:14.999" v="11694" actId="47"/>
        <pc:sldMkLst>
          <pc:docMk/>
          <pc:sldMk cId="3392197638" sldId="721"/>
        </pc:sldMkLst>
        <pc:spChg chg="mod">
          <ac:chgData name="Ciacci, Aurelia" userId="f09834df-1e97-41e8-bd21-3860a284c5fc" providerId="ADAL" clId="{18FFE5A7-A348-4058-82CE-F26E60DB0D95}" dt="2026-05-11T13:28:02.680" v="11203" actId="27636"/>
          <ac:spMkLst>
            <pc:docMk/>
            <pc:sldMk cId="3392197638" sldId="721"/>
            <ac:spMk id="2" creationId="{3E05AA04-F382-CC90-81D1-D8C641DEB831}"/>
          </ac:spMkLst>
        </pc:spChg>
        <pc:spChg chg="mod">
          <ac:chgData name="Ciacci, Aurelia" userId="f09834df-1e97-41e8-bd21-3860a284c5fc" providerId="ADAL" clId="{18FFE5A7-A348-4058-82CE-F26E60DB0D95}" dt="2026-05-11T13:28:02.318" v="11160" actId="790"/>
          <ac:spMkLst>
            <pc:docMk/>
            <pc:sldMk cId="3392197638" sldId="721"/>
            <ac:spMk id="3" creationId="{CC0A809C-8A04-F820-7D4D-DF08CAE7F605}"/>
          </ac:spMkLst>
        </pc:spChg>
        <pc:spChg chg="mod">
          <ac:chgData name="Ciacci, Aurelia" userId="f09834df-1e97-41e8-bd21-3860a284c5fc" providerId="ADAL" clId="{18FFE5A7-A348-4058-82CE-F26E60DB0D95}" dt="2026-05-11T13:28:02.370" v="11194" actId="790"/>
          <ac:spMkLst>
            <pc:docMk/>
            <pc:sldMk cId="3392197638" sldId="721"/>
            <ac:spMk id="4" creationId="{B8B9A352-866B-9E50-67D9-CE62DC21CD5F}"/>
          </ac:spMkLst>
        </pc:spChg>
        <pc:spChg chg="mod">
          <ac:chgData name="Ciacci, Aurelia" userId="f09834df-1e97-41e8-bd21-3860a284c5fc" providerId="ADAL" clId="{18FFE5A7-A348-4058-82CE-F26E60DB0D95}" dt="2026-05-11T13:28:02.342" v="11178" actId="790"/>
          <ac:spMkLst>
            <pc:docMk/>
            <pc:sldMk cId="3392197638" sldId="721"/>
            <ac:spMk id="5" creationId="{FE280A76-8B8A-516C-EE4B-E5A470F14391}"/>
          </ac:spMkLst>
        </pc:spChg>
        <pc:spChg chg="mod">
          <ac:chgData name="Ciacci, Aurelia" userId="f09834df-1e97-41e8-bd21-3860a284c5fc" providerId="ADAL" clId="{18FFE5A7-A348-4058-82CE-F26E60DB0D95}" dt="2026-05-11T13:28:02.320" v="11161" actId="790"/>
          <ac:spMkLst>
            <pc:docMk/>
            <pc:sldMk cId="3392197638" sldId="721"/>
            <ac:spMk id="7" creationId="{0A8AFB78-ECF1-6B02-F31F-688560E2C52B}"/>
          </ac:spMkLst>
        </pc:spChg>
        <pc:spChg chg="mod">
          <ac:chgData name="Ciacci, Aurelia" userId="f09834df-1e97-41e8-bd21-3860a284c5fc" providerId="ADAL" clId="{18FFE5A7-A348-4058-82CE-F26E60DB0D95}" dt="2026-05-11T13:28:02.372" v="11195" actId="790"/>
          <ac:spMkLst>
            <pc:docMk/>
            <pc:sldMk cId="3392197638" sldId="721"/>
            <ac:spMk id="8" creationId="{6E60CCDA-D2BA-1EC6-D2A7-725A925235A5}"/>
          </ac:spMkLst>
        </pc:spChg>
        <pc:spChg chg="mod">
          <ac:chgData name="Ciacci, Aurelia" userId="f09834df-1e97-41e8-bd21-3860a284c5fc" providerId="ADAL" clId="{18FFE5A7-A348-4058-82CE-F26E60DB0D95}" dt="2026-05-11T13:28:02.344" v="11179" actId="790"/>
          <ac:spMkLst>
            <pc:docMk/>
            <pc:sldMk cId="3392197638" sldId="721"/>
            <ac:spMk id="9" creationId="{E76FDE9F-7830-2E98-3140-39962B526293}"/>
          </ac:spMkLst>
        </pc:spChg>
        <pc:spChg chg="mod">
          <ac:chgData name="Ciacci, Aurelia" userId="f09834df-1e97-41e8-bd21-3860a284c5fc" providerId="ADAL" clId="{18FFE5A7-A348-4058-82CE-F26E60DB0D95}" dt="2026-05-11T13:28:02.444" v="11196" actId="790"/>
          <ac:spMkLst>
            <pc:docMk/>
            <pc:sldMk cId="3392197638" sldId="721"/>
            <ac:spMk id="10" creationId="{9E9145F6-0666-C482-F926-20F70305AFDB}"/>
          </ac:spMkLst>
        </pc:spChg>
        <pc:spChg chg="mod">
          <ac:chgData name="Ciacci, Aurelia" userId="f09834df-1e97-41e8-bd21-3860a284c5fc" providerId="ADAL" clId="{18FFE5A7-A348-4058-82CE-F26E60DB0D95}" dt="2026-05-11T13:28:02.321" v="11162" actId="790"/>
          <ac:spMkLst>
            <pc:docMk/>
            <pc:sldMk cId="3392197638" sldId="721"/>
            <ac:spMk id="12" creationId="{CC0FAAE5-03CF-0B13-D1D3-FE4C381C8087}"/>
          </ac:spMkLst>
        </pc:spChg>
        <pc:spChg chg="mod">
          <ac:chgData name="Ciacci, Aurelia" userId="f09834df-1e97-41e8-bd21-3860a284c5fc" providerId="ADAL" clId="{18FFE5A7-A348-4058-82CE-F26E60DB0D95}" dt="2026-05-11T13:28:02.322" v="11163" actId="790"/>
          <ac:spMkLst>
            <pc:docMk/>
            <pc:sldMk cId="3392197638" sldId="721"/>
            <ac:spMk id="13" creationId="{A9410E18-3679-64DB-7556-547AE2DB895F}"/>
          </ac:spMkLst>
        </pc:spChg>
        <pc:spChg chg="mod">
          <ac:chgData name="Ciacci, Aurelia" userId="f09834df-1e97-41e8-bd21-3860a284c5fc" providerId="ADAL" clId="{18FFE5A7-A348-4058-82CE-F26E60DB0D95}" dt="2026-05-11T13:28:02.323" v="11164" actId="790"/>
          <ac:spMkLst>
            <pc:docMk/>
            <pc:sldMk cId="3392197638" sldId="721"/>
            <ac:spMk id="14" creationId="{7B30160D-EBC3-A541-5056-DE053FC59071}"/>
          </ac:spMkLst>
        </pc:spChg>
        <pc:spChg chg="mod">
          <ac:chgData name="Ciacci, Aurelia" userId="f09834df-1e97-41e8-bd21-3860a284c5fc" providerId="ADAL" clId="{18FFE5A7-A348-4058-82CE-F26E60DB0D95}" dt="2026-05-11T13:28:02.324" v="11165" actId="790"/>
          <ac:spMkLst>
            <pc:docMk/>
            <pc:sldMk cId="3392197638" sldId="721"/>
            <ac:spMk id="15" creationId="{E2D1E06A-915E-20D0-9412-AA59011786A1}"/>
          </ac:spMkLst>
        </pc:spChg>
        <pc:spChg chg="mod">
          <ac:chgData name="Ciacci, Aurelia" userId="f09834df-1e97-41e8-bd21-3860a284c5fc" providerId="ADAL" clId="{18FFE5A7-A348-4058-82CE-F26E60DB0D95}" dt="2026-05-11T13:28:02.325" v="11166" actId="790"/>
          <ac:spMkLst>
            <pc:docMk/>
            <pc:sldMk cId="3392197638" sldId="721"/>
            <ac:spMk id="16" creationId="{CD20C9D5-F56D-F8CE-008E-6348C69F0D60}"/>
          </ac:spMkLst>
        </pc:spChg>
        <pc:spChg chg="mod">
          <ac:chgData name="Ciacci, Aurelia" userId="f09834df-1e97-41e8-bd21-3860a284c5fc" providerId="ADAL" clId="{18FFE5A7-A348-4058-82CE-F26E60DB0D95}" dt="2026-05-11T13:28:02.325" v="11167" actId="790"/>
          <ac:spMkLst>
            <pc:docMk/>
            <pc:sldMk cId="3392197638" sldId="721"/>
            <ac:spMk id="17" creationId="{00CACFEA-AFFB-43EE-5662-FC27C76C8F6F}"/>
          </ac:spMkLst>
        </pc:spChg>
        <pc:spChg chg="mod">
          <ac:chgData name="Ciacci, Aurelia" userId="f09834df-1e97-41e8-bd21-3860a284c5fc" providerId="ADAL" clId="{18FFE5A7-A348-4058-82CE-F26E60DB0D95}" dt="2026-05-11T13:28:02.327" v="11168" actId="790"/>
          <ac:spMkLst>
            <pc:docMk/>
            <pc:sldMk cId="3392197638" sldId="721"/>
            <ac:spMk id="18" creationId="{F33B8051-E2BD-AE68-6E01-E08AA75DC9D7}"/>
          </ac:spMkLst>
        </pc:spChg>
        <pc:spChg chg="mod">
          <ac:chgData name="Ciacci, Aurelia" userId="f09834df-1e97-41e8-bd21-3860a284c5fc" providerId="ADAL" clId="{18FFE5A7-A348-4058-82CE-F26E60DB0D95}" dt="2026-05-11T13:28:02.328" v="11169" actId="790"/>
          <ac:spMkLst>
            <pc:docMk/>
            <pc:sldMk cId="3392197638" sldId="721"/>
            <ac:spMk id="19" creationId="{BF9B4C69-A97B-5F99-DB2C-599C0EB80803}"/>
          </ac:spMkLst>
        </pc:spChg>
        <pc:spChg chg="mod">
          <ac:chgData name="Ciacci, Aurelia" userId="f09834df-1e97-41e8-bd21-3860a284c5fc" providerId="ADAL" clId="{18FFE5A7-A348-4058-82CE-F26E60DB0D95}" dt="2026-05-11T13:28:02.329" v="11170" actId="790"/>
          <ac:spMkLst>
            <pc:docMk/>
            <pc:sldMk cId="3392197638" sldId="721"/>
            <ac:spMk id="20" creationId="{C7CF0E9E-13B8-9396-27A2-2FBE090BE024}"/>
          </ac:spMkLst>
        </pc:spChg>
        <pc:spChg chg="mod">
          <ac:chgData name="Ciacci, Aurelia" userId="f09834df-1e97-41e8-bd21-3860a284c5fc" providerId="ADAL" clId="{18FFE5A7-A348-4058-82CE-F26E60DB0D95}" dt="2026-05-11T13:28:02.330" v="11171" actId="790"/>
          <ac:spMkLst>
            <pc:docMk/>
            <pc:sldMk cId="3392197638" sldId="721"/>
            <ac:spMk id="21" creationId="{80453068-339C-2452-E99E-4B9F577AE2BE}"/>
          </ac:spMkLst>
        </pc:spChg>
        <pc:spChg chg="mod">
          <ac:chgData name="Ciacci, Aurelia" userId="f09834df-1e97-41e8-bd21-3860a284c5fc" providerId="ADAL" clId="{18FFE5A7-A348-4058-82CE-F26E60DB0D95}" dt="2026-05-11T13:28:02.330" v="11172" actId="790"/>
          <ac:spMkLst>
            <pc:docMk/>
            <pc:sldMk cId="3392197638" sldId="721"/>
            <ac:spMk id="22" creationId="{DFF1CFE4-F2AB-C50A-16DA-E8DDA0F1E148}"/>
          </ac:spMkLst>
        </pc:spChg>
        <pc:spChg chg="mod">
          <ac:chgData name="Ciacci, Aurelia" userId="f09834df-1e97-41e8-bd21-3860a284c5fc" providerId="ADAL" clId="{18FFE5A7-A348-4058-82CE-F26E60DB0D95}" dt="2026-05-11T13:28:02.331" v="11173" actId="790"/>
          <ac:spMkLst>
            <pc:docMk/>
            <pc:sldMk cId="3392197638" sldId="721"/>
            <ac:spMk id="23" creationId="{801833C0-9B42-2CEC-D8A3-C3035E6A2823}"/>
          </ac:spMkLst>
        </pc:spChg>
        <pc:spChg chg="mod">
          <ac:chgData name="Ciacci, Aurelia" userId="f09834df-1e97-41e8-bd21-3860a284c5fc" providerId="ADAL" clId="{18FFE5A7-A348-4058-82CE-F26E60DB0D95}" dt="2026-05-11T13:28:02.332" v="11174" actId="790"/>
          <ac:spMkLst>
            <pc:docMk/>
            <pc:sldMk cId="3392197638" sldId="721"/>
            <ac:spMk id="24" creationId="{DC265F18-A2A2-1012-D85E-2B9A2080E666}"/>
          </ac:spMkLst>
        </pc:spChg>
        <pc:spChg chg="mod">
          <ac:chgData name="Ciacci, Aurelia" userId="f09834df-1e97-41e8-bd21-3860a284c5fc" providerId="ADAL" clId="{18FFE5A7-A348-4058-82CE-F26E60DB0D95}" dt="2026-05-11T13:28:02.333" v="11175" actId="790"/>
          <ac:spMkLst>
            <pc:docMk/>
            <pc:sldMk cId="3392197638" sldId="721"/>
            <ac:spMk id="25" creationId="{B296330C-666D-D54E-0B59-6470EBCDDD57}"/>
          </ac:spMkLst>
        </pc:spChg>
        <pc:spChg chg="mod">
          <ac:chgData name="Ciacci, Aurelia" userId="f09834df-1e97-41e8-bd21-3860a284c5fc" providerId="ADAL" clId="{18FFE5A7-A348-4058-82CE-F26E60DB0D95}" dt="2026-05-11T13:28:02.333" v="11176" actId="790"/>
          <ac:spMkLst>
            <pc:docMk/>
            <pc:sldMk cId="3392197638" sldId="721"/>
            <ac:spMk id="26" creationId="{D5C61B25-7835-8505-0DB5-5076A606986C}"/>
          </ac:spMkLst>
        </pc:spChg>
        <pc:spChg chg="mod">
          <ac:chgData name="Ciacci, Aurelia" userId="f09834df-1e97-41e8-bd21-3860a284c5fc" providerId="ADAL" clId="{18FFE5A7-A348-4058-82CE-F26E60DB0D95}" dt="2026-05-11T13:28:02.334" v="11177" actId="790"/>
          <ac:spMkLst>
            <pc:docMk/>
            <pc:sldMk cId="3392197638" sldId="721"/>
            <ac:spMk id="27" creationId="{350C051B-CDCE-C167-5F51-F768AED508EE}"/>
          </ac:spMkLst>
        </pc:spChg>
        <pc:spChg chg="mod">
          <ac:chgData name="Ciacci, Aurelia" userId="f09834df-1e97-41e8-bd21-3860a284c5fc" providerId="ADAL" clId="{18FFE5A7-A348-4058-82CE-F26E60DB0D95}" dt="2026-05-11T13:28:02.345" v="11180" actId="790"/>
          <ac:spMkLst>
            <pc:docMk/>
            <pc:sldMk cId="3392197638" sldId="721"/>
            <ac:spMk id="29" creationId="{3DA86860-E394-3AF7-EEBD-B38D76A0091C}"/>
          </ac:spMkLst>
        </pc:spChg>
        <pc:spChg chg="mod">
          <ac:chgData name="Ciacci, Aurelia" userId="f09834df-1e97-41e8-bd21-3860a284c5fc" providerId="ADAL" clId="{18FFE5A7-A348-4058-82CE-F26E60DB0D95}" dt="2026-05-11T13:28:02.346" v="11181" actId="790"/>
          <ac:spMkLst>
            <pc:docMk/>
            <pc:sldMk cId="3392197638" sldId="721"/>
            <ac:spMk id="30" creationId="{D350FE0A-28D5-A371-F500-CEE8002FB06F}"/>
          </ac:spMkLst>
        </pc:spChg>
        <pc:spChg chg="mod">
          <ac:chgData name="Ciacci, Aurelia" userId="f09834df-1e97-41e8-bd21-3860a284c5fc" providerId="ADAL" clId="{18FFE5A7-A348-4058-82CE-F26E60DB0D95}" dt="2026-05-11T13:28:02.347" v="11182" actId="790"/>
          <ac:spMkLst>
            <pc:docMk/>
            <pc:sldMk cId="3392197638" sldId="721"/>
            <ac:spMk id="31" creationId="{98775DA0-C3F9-0A3F-412D-5921C2B6499E}"/>
          </ac:spMkLst>
        </pc:spChg>
        <pc:spChg chg="mod">
          <ac:chgData name="Ciacci, Aurelia" userId="f09834df-1e97-41e8-bd21-3860a284c5fc" providerId="ADAL" clId="{18FFE5A7-A348-4058-82CE-F26E60DB0D95}" dt="2026-05-11T13:28:02.348" v="11183" actId="790"/>
          <ac:spMkLst>
            <pc:docMk/>
            <pc:sldMk cId="3392197638" sldId="721"/>
            <ac:spMk id="32" creationId="{06E1184E-3AC3-BC8E-6B81-D879E0E8D4F3}"/>
          </ac:spMkLst>
        </pc:spChg>
        <pc:spChg chg="mod">
          <ac:chgData name="Ciacci, Aurelia" userId="f09834df-1e97-41e8-bd21-3860a284c5fc" providerId="ADAL" clId="{18FFE5A7-A348-4058-82CE-F26E60DB0D95}" dt="2026-05-11T13:28:02.349" v="11184" actId="790"/>
          <ac:spMkLst>
            <pc:docMk/>
            <pc:sldMk cId="3392197638" sldId="721"/>
            <ac:spMk id="33" creationId="{24C51F21-0E32-4242-9262-AA01D387ED64}"/>
          </ac:spMkLst>
        </pc:spChg>
        <pc:spChg chg="mod">
          <ac:chgData name="Ciacci, Aurelia" userId="f09834df-1e97-41e8-bd21-3860a284c5fc" providerId="ADAL" clId="{18FFE5A7-A348-4058-82CE-F26E60DB0D95}" dt="2026-05-11T13:28:02.350" v="11185" actId="790"/>
          <ac:spMkLst>
            <pc:docMk/>
            <pc:sldMk cId="3392197638" sldId="721"/>
            <ac:spMk id="34" creationId="{813487B0-40FC-BFBF-DC63-97A912749C11}"/>
          </ac:spMkLst>
        </pc:spChg>
        <pc:spChg chg="mod">
          <ac:chgData name="Ciacci, Aurelia" userId="f09834df-1e97-41e8-bd21-3860a284c5fc" providerId="ADAL" clId="{18FFE5A7-A348-4058-82CE-F26E60DB0D95}" dt="2026-05-11T13:28:02.351" v="11186" actId="790"/>
          <ac:spMkLst>
            <pc:docMk/>
            <pc:sldMk cId="3392197638" sldId="721"/>
            <ac:spMk id="35" creationId="{B7AD0424-E174-E4D4-F14B-C58D9BF1CF38}"/>
          </ac:spMkLst>
        </pc:spChg>
        <pc:spChg chg="mod">
          <ac:chgData name="Ciacci, Aurelia" userId="f09834df-1e97-41e8-bd21-3860a284c5fc" providerId="ADAL" clId="{18FFE5A7-A348-4058-82CE-F26E60DB0D95}" dt="2026-05-11T13:28:02.352" v="11187" actId="790"/>
          <ac:spMkLst>
            <pc:docMk/>
            <pc:sldMk cId="3392197638" sldId="721"/>
            <ac:spMk id="36" creationId="{C245B1F9-3313-75F6-CE99-D6A5083A4F6D}"/>
          </ac:spMkLst>
        </pc:spChg>
        <pc:spChg chg="mod">
          <ac:chgData name="Ciacci, Aurelia" userId="f09834df-1e97-41e8-bd21-3860a284c5fc" providerId="ADAL" clId="{18FFE5A7-A348-4058-82CE-F26E60DB0D95}" dt="2026-05-11T13:28:02.353" v="11188" actId="790"/>
          <ac:spMkLst>
            <pc:docMk/>
            <pc:sldMk cId="3392197638" sldId="721"/>
            <ac:spMk id="37" creationId="{851C9429-D4A9-60BE-1994-0C8F10833D4F}"/>
          </ac:spMkLst>
        </pc:spChg>
        <pc:spChg chg="mod">
          <ac:chgData name="Ciacci, Aurelia" userId="f09834df-1e97-41e8-bd21-3860a284c5fc" providerId="ADAL" clId="{18FFE5A7-A348-4058-82CE-F26E60DB0D95}" dt="2026-05-11T13:28:02.354" v="11189" actId="790"/>
          <ac:spMkLst>
            <pc:docMk/>
            <pc:sldMk cId="3392197638" sldId="721"/>
            <ac:spMk id="38" creationId="{BA6A3C5F-6B7B-69D3-9DCB-6E1A6D260DEE}"/>
          </ac:spMkLst>
        </pc:spChg>
        <pc:spChg chg="mod">
          <ac:chgData name="Ciacci, Aurelia" userId="f09834df-1e97-41e8-bd21-3860a284c5fc" providerId="ADAL" clId="{18FFE5A7-A348-4058-82CE-F26E60DB0D95}" dt="2026-05-11T13:28:02.355" v="11190" actId="790"/>
          <ac:spMkLst>
            <pc:docMk/>
            <pc:sldMk cId="3392197638" sldId="721"/>
            <ac:spMk id="39" creationId="{9623D5D9-C27B-27D6-5098-10511305AEC5}"/>
          </ac:spMkLst>
        </pc:spChg>
        <pc:spChg chg="mod">
          <ac:chgData name="Ciacci, Aurelia" userId="f09834df-1e97-41e8-bd21-3860a284c5fc" providerId="ADAL" clId="{18FFE5A7-A348-4058-82CE-F26E60DB0D95}" dt="2026-05-11T13:28:02.356" v="11191" actId="790"/>
          <ac:spMkLst>
            <pc:docMk/>
            <pc:sldMk cId="3392197638" sldId="721"/>
            <ac:spMk id="40" creationId="{0A211048-4A1A-D164-7E1F-431C1705F936}"/>
          </ac:spMkLst>
        </pc:spChg>
        <pc:spChg chg="mod">
          <ac:chgData name="Ciacci, Aurelia" userId="f09834df-1e97-41e8-bd21-3860a284c5fc" providerId="ADAL" clId="{18FFE5A7-A348-4058-82CE-F26E60DB0D95}" dt="2026-05-11T13:28:02.357" v="11192" actId="790"/>
          <ac:spMkLst>
            <pc:docMk/>
            <pc:sldMk cId="3392197638" sldId="721"/>
            <ac:spMk id="41" creationId="{78910227-9CE5-2807-0DE5-6135BF076B9B}"/>
          </ac:spMkLst>
        </pc:spChg>
        <pc:spChg chg="mod">
          <ac:chgData name="Ciacci, Aurelia" userId="f09834df-1e97-41e8-bd21-3860a284c5fc" providerId="ADAL" clId="{18FFE5A7-A348-4058-82CE-F26E60DB0D95}" dt="2026-05-11T13:28:02.359" v="11193" actId="790"/>
          <ac:spMkLst>
            <pc:docMk/>
            <pc:sldMk cId="3392197638" sldId="721"/>
            <ac:spMk id="42" creationId="{08260A58-0CD4-9EFC-1E17-06E1B195A9B9}"/>
          </ac:spMkLst>
        </pc:spChg>
        <pc:spChg chg="mod">
          <ac:chgData name="Ciacci, Aurelia" userId="f09834df-1e97-41e8-bd21-3860a284c5fc" providerId="ADAL" clId="{18FFE5A7-A348-4058-82CE-F26E60DB0D95}" dt="2026-05-11T13:28:02.445" v="11197" actId="790"/>
          <ac:spMkLst>
            <pc:docMk/>
            <pc:sldMk cId="3392197638" sldId="721"/>
            <ac:spMk id="48" creationId="{9CA31D57-3687-10C8-64BE-9403CEC36552}"/>
          </ac:spMkLst>
        </pc:spChg>
        <pc:spChg chg="mod">
          <ac:chgData name="Ciacci, Aurelia" userId="f09834df-1e97-41e8-bd21-3860a284c5fc" providerId="ADAL" clId="{18FFE5A7-A348-4058-82CE-F26E60DB0D95}" dt="2026-05-11T13:28:02.446" v="11198" actId="790"/>
          <ac:spMkLst>
            <pc:docMk/>
            <pc:sldMk cId="3392197638" sldId="721"/>
            <ac:spMk id="49" creationId="{97DF12A3-591D-AD2A-8C42-2B24FB1418F6}"/>
          </ac:spMkLst>
        </pc:spChg>
        <pc:spChg chg="mod">
          <ac:chgData name="Ciacci, Aurelia" userId="f09834df-1e97-41e8-bd21-3860a284c5fc" providerId="ADAL" clId="{18FFE5A7-A348-4058-82CE-F26E60DB0D95}" dt="2026-05-11T13:28:02.447" v="11199" actId="790"/>
          <ac:spMkLst>
            <pc:docMk/>
            <pc:sldMk cId="3392197638" sldId="721"/>
            <ac:spMk id="50" creationId="{04BA5A34-3EF9-6ADC-42B4-B80F87C320DB}"/>
          </ac:spMkLst>
        </pc:spChg>
      </pc:sldChg>
      <pc:sldChg chg="addSp delSp modSp add mod modNotesTx">
        <pc:chgData name="Ciacci, Aurelia" userId="f09834df-1e97-41e8-bd21-3860a284c5fc" providerId="ADAL" clId="{18FFE5A7-A348-4058-82CE-F26E60DB0D95}" dt="2026-05-11T15:28:41.167" v="17336" actId="20577"/>
        <pc:sldMkLst>
          <pc:docMk/>
          <pc:sldMk cId="2494490271" sldId="722"/>
        </pc:sldMkLst>
        <pc:spChg chg="mod">
          <ac:chgData name="Ciacci, Aurelia" userId="f09834df-1e97-41e8-bd21-3860a284c5fc" providerId="ADAL" clId="{18FFE5A7-A348-4058-82CE-F26E60DB0D95}" dt="2026-05-11T15:28:41.167" v="17336" actId="20577"/>
          <ac:spMkLst>
            <pc:docMk/>
            <pc:sldMk cId="2494490271" sldId="722"/>
            <ac:spMk id="4" creationId="{0D62B4BB-5401-8B68-B85B-B60A0C1EEC0A}"/>
          </ac:spMkLst>
        </pc:spChg>
        <pc:spChg chg="del">
          <ac:chgData name="Ciacci, Aurelia" userId="f09834df-1e97-41e8-bd21-3860a284c5fc" providerId="ADAL" clId="{18FFE5A7-A348-4058-82CE-F26E60DB0D95}" dt="2026-05-11T13:40:37.156" v="11537" actId="478"/>
          <ac:spMkLst>
            <pc:docMk/>
            <pc:sldMk cId="2494490271" sldId="722"/>
            <ac:spMk id="5" creationId="{C8151A28-32F8-ADDF-3C50-DBBE5FB951BE}"/>
          </ac:spMkLst>
        </pc:spChg>
        <pc:spChg chg="mod">
          <ac:chgData name="Ciacci, Aurelia" userId="f09834df-1e97-41e8-bd21-3860a284c5fc" providerId="ADAL" clId="{18FFE5A7-A348-4058-82CE-F26E60DB0D95}" dt="2026-05-11T13:43:36.296" v="11698" actId="207"/>
          <ac:spMkLst>
            <pc:docMk/>
            <pc:sldMk cId="2494490271" sldId="722"/>
            <ac:spMk id="8" creationId="{816CBEB5-A2BF-79DE-8C49-864536B7EFFE}"/>
          </ac:spMkLst>
        </pc:spChg>
        <pc:spChg chg="del">
          <ac:chgData name="Ciacci, Aurelia" userId="f09834df-1e97-41e8-bd21-3860a284c5fc" providerId="ADAL" clId="{18FFE5A7-A348-4058-82CE-F26E60DB0D95}" dt="2026-05-11T13:40:37.156" v="11537" actId="478"/>
          <ac:spMkLst>
            <pc:docMk/>
            <pc:sldMk cId="2494490271" sldId="722"/>
            <ac:spMk id="9" creationId="{2F8AF1EC-C830-4D78-8745-51AA1E174B84}"/>
          </ac:spMkLst>
        </pc:spChg>
        <pc:spChg chg="del">
          <ac:chgData name="Ciacci, Aurelia" userId="f09834df-1e97-41e8-bd21-3860a284c5fc" providerId="ADAL" clId="{18FFE5A7-A348-4058-82CE-F26E60DB0D95}" dt="2026-05-11T13:40:37.156" v="11537" actId="478"/>
          <ac:spMkLst>
            <pc:docMk/>
            <pc:sldMk cId="2494490271" sldId="722"/>
            <ac:spMk id="10" creationId="{090D6E7B-48EC-BE6A-FFA7-E494E47332C5}"/>
          </ac:spMkLst>
        </pc:spChg>
        <pc:spChg chg="mod">
          <ac:chgData name="Ciacci, Aurelia" userId="f09834df-1e97-41e8-bd21-3860a284c5fc" providerId="ADAL" clId="{18FFE5A7-A348-4058-82CE-F26E60DB0D95}" dt="2026-05-11T14:42:04.851" v="14346" actId="20577"/>
          <ac:spMkLst>
            <pc:docMk/>
            <pc:sldMk cId="2494490271" sldId="722"/>
            <ac:spMk id="11" creationId="{CEEA7D0E-B240-3F9B-C32A-05F3E9DB8AD2}"/>
          </ac:spMkLst>
        </pc:spChg>
        <pc:spChg chg="add mod">
          <ac:chgData name="Ciacci, Aurelia" userId="f09834df-1e97-41e8-bd21-3860a284c5fc" providerId="ADAL" clId="{18FFE5A7-A348-4058-82CE-F26E60DB0D95}" dt="2026-05-11T14:40:31.682" v="14024" actId="2711"/>
          <ac:spMkLst>
            <pc:docMk/>
            <pc:sldMk cId="2494490271" sldId="722"/>
            <ac:spMk id="13" creationId="{212CBEF8-F734-4991-A257-855887A90E30}"/>
          </ac:spMkLst>
        </pc:spChg>
        <pc:spChg chg="del">
          <ac:chgData name="Ciacci, Aurelia" userId="f09834df-1e97-41e8-bd21-3860a284c5fc" providerId="ADAL" clId="{18FFE5A7-A348-4058-82CE-F26E60DB0D95}" dt="2026-05-11T13:40:37.156" v="11537" actId="478"/>
          <ac:spMkLst>
            <pc:docMk/>
            <pc:sldMk cId="2494490271" sldId="722"/>
            <ac:spMk id="14" creationId="{7778C95C-C023-2602-3266-09F67EFA0063}"/>
          </ac:spMkLst>
        </pc:spChg>
        <pc:spChg chg="del">
          <ac:chgData name="Ciacci, Aurelia" userId="f09834df-1e97-41e8-bd21-3860a284c5fc" providerId="ADAL" clId="{18FFE5A7-A348-4058-82CE-F26E60DB0D95}" dt="2026-05-11T13:40:37.156" v="11537" actId="478"/>
          <ac:spMkLst>
            <pc:docMk/>
            <pc:sldMk cId="2494490271" sldId="722"/>
            <ac:spMk id="15" creationId="{F18915FF-8C9F-0302-91A9-6898EFF85FBB}"/>
          </ac:spMkLst>
        </pc:spChg>
        <pc:spChg chg="del">
          <ac:chgData name="Ciacci, Aurelia" userId="f09834df-1e97-41e8-bd21-3860a284c5fc" providerId="ADAL" clId="{18FFE5A7-A348-4058-82CE-F26E60DB0D95}" dt="2026-05-11T13:40:37.156" v="11537" actId="478"/>
          <ac:spMkLst>
            <pc:docMk/>
            <pc:sldMk cId="2494490271" sldId="722"/>
            <ac:spMk id="16" creationId="{C363C0EC-CB50-F217-3D35-7458DC9C91F7}"/>
          </ac:spMkLst>
        </pc:spChg>
        <pc:spChg chg="mod">
          <ac:chgData name="Ciacci, Aurelia" userId="f09834df-1e97-41e8-bd21-3860a284c5fc" providerId="ADAL" clId="{18FFE5A7-A348-4058-82CE-F26E60DB0D95}" dt="2026-05-11T13:40:45.849" v="11538"/>
          <ac:spMkLst>
            <pc:docMk/>
            <pc:sldMk cId="2494490271" sldId="722"/>
            <ac:spMk id="20" creationId="{45ADCEF4-B70A-BF03-D2A9-C94B1195CF94}"/>
          </ac:spMkLst>
        </pc:spChg>
        <pc:spChg chg="mod">
          <ac:chgData name="Ciacci, Aurelia" userId="f09834df-1e97-41e8-bd21-3860a284c5fc" providerId="ADAL" clId="{18FFE5A7-A348-4058-82CE-F26E60DB0D95}" dt="2026-05-11T13:40:45.849" v="11538"/>
          <ac:spMkLst>
            <pc:docMk/>
            <pc:sldMk cId="2494490271" sldId="722"/>
            <ac:spMk id="21" creationId="{7FB79D66-D6B0-8633-F6B3-353DDCFE0EBB}"/>
          </ac:spMkLst>
        </pc:spChg>
        <pc:spChg chg="mod">
          <ac:chgData name="Ciacci, Aurelia" userId="f09834df-1e97-41e8-bd21-3860a284c5fc" providerId="ADAL" clId="{18FFE5A7-A348-4058-82CE-F26E60DB0D95}" dt="2026-05-11T13:40:45.849" v="11538"/>
          <ac:spMkLst>
            <pc:docMk/>
            <pc:sldMk cId="2494490271" sldId="722"/>
            <ac:spMk id="22" creationId="{E369CA36-DD1C-5ABD-E29F-14FF9FAFE924}"/>
          </ac:spMkLst>
        </pc:spChg>
        <pc:spChg chg="mod">
          <ac:chgData name="Ciacci, Aurelia" userId="f09834df-1e97-41e8-bd21-3860a284c5fc" providerId="ADAL" clId="{18FFE5A7-A348-4058-82CE-F26E60DB0D95}" dt="2026-05-11T13:40:45.849" v="11538"/>
          <ac:spMkLst>
            <pc:docMk/>
            <pc:sldMk cId="2494490271" sldId="722"/>
            <ac:spMk id="26" creationId="{A85FB16F-27D6-4CCA-EB10-2D6AF5E46A89}"/>
          </ac:spMkLst>
        </pc:spChg>
        <pc:spChg chg="mod">
          <ac:chgData name="Ciacci, Aurelia" userId="f09834df-1e97-41e8-bd21-3860a284c5fc" providerId="ADAL" clId="{18FFE5A7-A348-4058-82CE-F26E60DB0D95}" dt="2026-05-11T13:40:45.849" v="11538"/>
          <ac:spMkLst>
            <pc:docMk/>
            <pc:sldMk cId="2494490271" sldId="722"/>
            <ac:spMk id="30" creationId="{EB402D47-954E-8BBB-0737-DADDDD7F39DA}"/>
          </ac:spMkLst>
        </pc:spChg>
        <pc:spChg chg="mod">
          <ac:chgData name="Ciacci, Aurelia" userId="f09834df-1e97-41e8-bd21-3860a284c5fc" providerId="ADAL" clId="{18FFE5A7-A348-4058-82CE-F26E60DB0D95}" dt="2026-05-11T13:40:45.849" v="11538"/>
          <ac:spMkLst>
            <pc:docMk/>
            <pc:sldMk cId="2494490271" sldId="722"/>
            <ac:spMk id="32" creationId="{2A49B12C-26B4-3E67-35BC-A86E40BC4C87}"/>
          </ac:spMkLst>
        </pc:spChg>
        <pc:spChg chg="mod">
          <ac:chgData name="Ciacci, Aurelia" userId="f09834df-1e97-41e8-bd21-3860a284c5fc" providerId="ADAL" clId="{18FFE5A7-A348-4058-82CE-F26E60DB0D95}" dt="2026-05-11T13:40:45.849" v="11538"/>
          <ac:spMkLst>
            <pc:docMk/>
            <pc:sldMk cId="2494490271" sldId="722"/>
            <ac:spMk id="34" creationId="{664D2325-7E16-CC2A-9172-B6372D52D048}"/>
          </ac:spMkLst>
        </pc:spChg>
        <pc:spChg chg="mod">
          <ac:chgData name="Ciacci, Aurelia" userId="f09834df-1e97-41e8-bd21-3860a284c5fc" providerId="ADAL" clId="{18FFE5A7-A348-4058-82CE-F26E60DB0D95}" dt="2026-05-11T14:44:14.087" v="14482" actId="20577"/>
          <ac:spMkLst>
            <pc:docMk/>
            <pc:sldMk cId="2494490271" sldId="722"/>
            <ac:spMk id="36" creationId="{6F2B5C02-1E23-A665-7E91-5274B016C0A9}"/>
          </ac:spMkLst>
        </pc:spChg>
        <pc:spChg chg="mod">
          <ac:chgData name="Ciacci, Aurelia" userId="f09834df-1e97-41e8-bd21-3860a284c5fc" providerId="ADAL" clId="{18FFE5A7-A348-4058-82CE-F26E60DB0D95}" dt="2026-05-11T14:40:31.682" v="14024" actId="2711"/>
          <ac:spMkLst>
            <pc:docMk/>
            <pc:sldMk cId="2494490271" sldId="722"/>
            <ac:spMk id="37" creationId="{776C5776-D16A-3767-0EF7-0D16A608B4E0}"/>
          </ac:spMkLst>
        </pc:spChg>
        <pc:spChg chg="mod">
          <ac:chgData name="Ciacci, Aurelia" userId="f09834df-1e97-41e8-bd21-3860a284c5fc" providerId="ADAL" clId="{18FFE5A7-A348-4058-82CE-F26E60DB0D95}" dt="2026-05-11T13:40:45.849" v="11538"/>
          <ac:spMkLst>
            <pc:docMk/>
            <pc:sldMk cId="2494490271" sldId="722"/>
            <ac:spMk id="41" creationId="{926E6161-11E4-6120-7D4D-F6A87D152236}"/>
          </ac:spMkLst>
        </pc:spChg>
        <pc:spChg chg="mod">
          <ac:chgData name="Ciacci, Aurelia" userId="f09834df-1e97-41e8-bd21-3860a284c5fc" providerId="ADAL" clId="{18FFE5A7-A348-4058-82CE-F26E60DB0D95}" dt="2026-05-11T13:40:45.849" v="11538"/>
          <ac:spMkLst>
            <pc:docMk/>
            <pc:sldMk cId="2494490271" sldId="722"/>
            <ac:spMk id="47" creationId="{ED9A71DF-B609-2132-5C6B-603858B94634}"/>
          </ac:spMkLst>
        </pc:spChg>
        <pc:spChg chg="mod">
          <ac:chgData name="Ciacci, Aurelia" userId="f09834df-1e97-41e8-bd21-3860a284c5fc" providerId="ADAL" clId="{18FFE5A7-A348-4058-82CE-F26E60DB0D95}" dt="2026-05-11T14:41:57.593" v="14342" actId="20577"/>
          <ac:spMkLst>
            <pc:docMk/>
            <pc:sldMk cId="2494490271" sldId="722"/>
            <ac:spMk id="53" creationId="{5C332D9A-4696-A417-C6E2-7CB188873517}"/>
          </ac:spMkLst>
        </pc:spChg>
        <pc:spChg chg="mod">
          <ac:chgData name="Ciacci, Aurelia" userId="f09834df-1e97-41e8-bd21-3860a284c5fc" providerId="ADAL" clId="{18FFE5A7-A348-4058-82CE-F26E60DB0D95}" dt="2026-05-11T14:40:31.682" v="14024" actId="2711"/>
          <ac:spMkLst>
            <pc:docMk/>
            <pc:sldMk cId="2494490271" sldId="722"/>
            <ac:spMk id="54" creationId="{49626941-62FD-2285-077B-20E93AC861FC}"/>
          </ac:spMkLst>
        </pc:spChg>
        <pc:spChg chg="add mod">
          <ac:chgData name="Ciacci, Aurelia" userId="f09834df-1e97-41e8-bd21-3860a284c5fc" providerId="ADAL" clId="{18FFE5A7-A348-4058-82CE-F26E60DB0D95}" dt="2026-05-11T13:41:51.013" v="11581" actId="1076"/>
          <ac:spMkLst>
            <pc:docMk/>
            <pc:sldMk cId="2494490271" sldId="722"/>
            <ac:spMk id="60" creationId="{3679FFC6-A971-08AD-C0AE-8CE97E8B8228}"/>
          </ac:spMkLst>
        </pc:spChg>
        <pc:spChg chg="add mod">
          <ac:chgData name="Ciacci, Aurelia" userId="f09834df-1e97-41e8-bd21-3860a284c5fc" providerId="ADAL" clId="{18FFE5A7-A348-4058-82CE-F26E60DB0D95}" dt="2026-05-11T13:48:16.787" v="12105" actId="207"/>
          <ac:spMkLst>
            <pc:docMk/>
            <pc:sldMk cId="2494490271" sldId="722"/>
            <ac:spMk id="61" creationId="{E566D407-B1FB-3870-173C-9106F24331AB}"/>
          </ac:spMkLst>
        </pc:spChg>
        <pc:spChg chg="add mod">
          <ac:chgData name="Ciacci, Aurelia" userId="f09834df-1e97-41e8-bd21-3860a284c5fc" providerId="ADAL" clId="{18FFE5A7-A348-4058-82CE-F26E60DB0D95}" dt="2026-05-11T13:42:21.738" v="11588" actId="12788"/>
          <ac:spMkLst>
            <pc:docMk/>
            <pc:sldMk cId="2494490271" sldId="722"/>
            <ac:spMk id="62" creationId="{0DA45112-BEAF-8D7D-1B50-E67D389F26B4}"/>
          </ac:spMkLst>
        </pc:spChg>
        <pc:grpChg chg="del mod">
          <ac:chgData name="Ciacci, Aurelia" userId="f09834df-1e97-41e8-bd21-3860a284c5fc" providerId="ADAL" clId="{18FFE5A7-A348-4058-82CE-F26E60DB0D95}" dt="2026-05-11T13:41:45.542" v="11579" actId="478"/>
          <ac:grpSpMkLst>
            <pc:docMk/>
            <pc:sldMk cId="2494490271" sldId="722"/>
            <ac:grpSpMk id="19" creationId="{102C5DE4-D533-AC9D-4873-DF3339F91586}"/>
          </ac:grpSpMkLst>
        </pc:grpChg>
        <pc:grpChg chg="del mod">
          <ac:chgData name="Ciacci, Aurelia" userId="f09834df-1e97-41e8-bd21-3860a284c5fc" providerId="ADAL" clId="{18FFE5A7-A348-4058-82CE-F26E60DB0D95}" dt="2026-05-11T13:42:07.374" v="11585" actId="478"/>
          <ac:grpSpMkLst>
            <pc:docMk/>
            <pc:sldMk cId="2494490271" sldId="722"/>
            <ac:grpSpMk id="38" creationId="{9EDF4160-BF18-ABB8-9B16-32873EFF8D79}"/>
          </ac:grpSpMkLst>
        </pc:grpChg>
        <pc:grpChg chg="del mod">
          <ac:chgData name="Ciacci, Aurelia" userId="f09834df-1e97-41e8-bd21-3860a284c5fc" providerId="ADAL" clId="{18FFE5A7-A348-4058-82CE-F26E60DB0D95}" dt="2026-05-11T13:41:57.288" v="11583" actId="478"/>
          <ac:grpSpMkLst>
            <pc:docMk/>
            <pc:sldMk cId="2494490271" sldId="722"/>
            <ac:grpSpMk id="55" creationId="{42D9017C-E994-A9E0-3B74-C1E1C31697B5}"/>
          </ac:grpSpMkLst>
        </pc:grpChg>
        <pc:cxnChg chg="del">
          <ac:chgData name="Ciacci, Aurelia" userId="f09834df-1e97-41e8-bd21-3860a284c5fc" providerId="ADAL" clId="{18FFE5A7-A348-4058-82CE-F26E60DB0D95}" dt="2026-05-11T13:40:37.156" v="11537" actId="478"/>
          <ac:cxnSpMkLst>
            <pc:docMk/>
            <pc:sldMk cId="2494490271" sldId="722"/>
            <ac:cxnSpMk id="17" creationId="{ACF62A1B-5B8D-796C-EC99-557683E0457D}"/>
          </ac:cxnSpMkLst>
        </pc:cxnChg>
        <pc:cxnChg chg="del">
          <ac:chgData name="Ciacci, Aurelia" userId="f09834df-1e97-41e8-bd21-3860a284c5fc" providerId="ADAL" clId="{18FFE5A7-A348-4058-82CE-F26E60DB0D95}" dt="2026-05-11T13:40:37.156" v="11537" actId="478"/>
          <ac:cxnSpMkLst>
            <pc:docMk/>
            <pc:sldMk cId="2494490271" sldId="722"/>
            <ac:cxnSpMk id="18" creationId="{F52C5DBC-22F5-9759-9683-A1F29131ACF2}"/>
          </ac:cxnSpMkLst>
        </pc:cxnChg>
      </pc:sldChg>
      <pc:sldChg chg="addSp delSp modSp add mod modNotesTx">
        <pc:chgData name="Ciacci, Aurelia" userId="f09834df-1e97-41e8-bd21-3860a284c5fc" providerId="ADAL" clId="{18FFE5A7-A348-4058-82CE-F26E60DB0D95}" dt="2026-05-12T13:42:15.182" v="22085" actId="404"/>
        <pc:sldMkLst>
          <pc:docMk/>
          <pc:sldMk cId="3549837619" sldId="723"/>
        </pc:sldMkLst>
        <pc:spChg chg="mod">
          <ac:chgData name="Ciacci, Aurelia" userId="f09834df-1e97-41e8-bd21-3860a284c5fc" providerId="ADAL" clId="{18FFE5A7-A348-4058-82CE-F26E60DB0D95}" dt="2026-05-11T15:28:53.852" v="17352" actId="20577"/>
          <ac:spMkLst>
            <pc:docMk/>
            <pc:sldMk cId="3549837619" sldId="723"/>
            <ac:spMk id="4" creationId="{67279AC5-4256-B791-F9CB-42F9CD39ADD6}"/>
          </ac:spMkLst>
        </pc:spChg>
        <pc:spChg chg="add del mod">
          <ac:chgData name="Ciacci, Aurelia" userId="f09834df-1e97-41e8-bd21-3860a284c5fc" providerId="ADAL" clId="{18FFE5A7-A348-4058-82CE-F26E60DB0D95}" dt="2026-05-11T15:35:53.733" v="17461" actId="478"/>
          <ac:spMkLst>
            <pc:docMk/>
            <pc:sldMk cId="3549837619" sldId="723"/>
            <ac:spMk id="5" creationId="{BFFF249E-FE25-FC22-200E-25CE028695C9}"/>
          </ac:spMkLst>
        </pc:spChg>
        <pc:spChg chg="add mod">
          <ac:chgData name="Ciacci, Aurelia" userId="f09834df-1e97-41e8-bd21-3860a284c5fc" providerId="ADAL" clId="{18FFE5A7-A348-4058-82CE-F26E60DB0D95}" dt="2026-05-11T15:35:54.133" v="17462"/>
          <ac:spMkLst>
            <pc:docMk/>
            <pc:sldMk cId="3549837619" sldId="723"/>
            <ac:spMk id="7" creationId="{9E2D975D-E70F-DCB4-8DDB-7EF19A5B4D66}"/>
          </ac:spMkLst>
        </pc:spChg>
        <pc:spChg chg="del">
          <ac:chgData name="Ciacci, Aurelia" userId="f09834df-1e97-41e8-bd21-3860a284c5fc" providerId="ADAL" clId="{18FFE5A7-A348-4058-82CE-F26E60DB0D95}" dt="2026-05-11T15:31:10.499" v="17391" actId="478"/>
          <ac:spMkLst>
            <pc:docMk/>
            <pc:sldMk cId="3549837619" sldId="723"/>
            <ac:spMk id="8" creationId="{F070E6F5-7CB7-36F7-AB4D-67D087A49439}"/>
          </ac:spMkLst>
        </pc:spChg>
        <pc:spChg chg="del">
          <ac:chgData name="Ciacci, Aurelia" userId="f09834df-1e97-41e8-bd21-3860a284c5fc" providerId="ADAL" clId="{18FFE5A7-A348-4058-82CE-F26E60DB0D95}" dt="2026-05-11T15:35:53.733" v="17461" actId="478"/>
          <ac:spMkLst>
            <pc:docMk/>
            <pc:sldMk cId="3549837619" sldId="723"/>
            <ac:spMk id="9" creationId="{689D1CFE-F8B0-DB40-C4A3-96BAA2C89B55}"/>
          </ac:spMkLst>
        </pc:spChg>
        <pc:spChg chg="add mod">
          <ac:chgData name="Ciacci, Aurelia" userId="f09834df-1e97-41e8-bd21-3860a284c5fc" providerId="ADAL" clId="{18FFE5A7-A348-4058-82CE-F26E60DB0D95}" dt="2026-05-11T15:35:54.133" v="17462"/>
          <ac:spMkLst>
            <pc:docMk/>
            <pc:sldMk cId="3549837619" sldId="723"/>
            <ac:spMk id="10" creationId="{A1E1417B-A099-E196-F2C4-44FBD4027646}"/>
          </ac:spMkLst>
        </pc:spChg>
        <pc:spChg chg="mod">
          <ac:chgData name="Ciacci, Aurelia" userId="f09834df-1e97-41e8-bd21-3860a284c5fc" providerId="ADAL" clId="{18FFE5A7-A348-4058-82CE-F26E60DB0D95}" dt="2026-05-12T13:42:15.182" v="22085" actId="404"/>
          <ac:spMkLst>
            <pc:docMk/>
            <pc:sldMk cId="3549837619" sldId="723"/>
            <ac:spMk id="15" creationId="{88C0D520-99B3-AB92-4881-2ABAF022590E}"/>
          </ac:spMkLst>
        </pc:spChg>
        <pc:spChg chg="mod">
          <ac:chgData name="Ciacci, Aurelia" userId="f09834df-1e97-41e8-bd21-3860a284c5fc" providerId="ADAL" clId="{18FFE5A7-A348-4058-82CE-F26E60DB0D95}" dt="2026-05-11T15:24:34.811" v="17287" actId="14100"/>
          <ac:spMkLst>
            <pc:docMk/>
            <pc:sldMk cId="3549837619" sldId="723"/>
            <ac:spMk id="17" creationId="{E86D4247-1315-F45B-90EC-CC2E6624B479}"/>
          </ac:spMkLst>
        </pc:spChg>
        <pc:spChg chg="mod">
          <ac:chgData name="Ciacci, Aurelia" userId="f09834df-1e97-41e8-bd21-3860a284c5fc" providerId="ADAL" clId="{18FFE5A7-A348-4058-82CE-F26E60DB0D95}" dt="2026-05-11T13:44:45.882" v="11754" actId="207"/>
          <ac:spMkLst>
            <pc:docMk/>
            <pc:sldMk cId="3549837619" sldId="723"/>
            <ac:spMk id="20" creationId="{3D24DE56-9A12-B423-73F9-4CA027904685}"/>
          </ac:spMkLst>
        </pc:spChg>
        <pc:spChg chg="mod">
          <ac:chgData name="Ciacci, Aurelia" userId="f09834df-1e97-41e8-bd21-3860a284c5fc" providerId="ADAL" clId="{18FFE5A7-A348-4058-82CE-F26E60DB0D95}" dt="2026-05-12T13:42:15.182" v="22085" actId="404"/>
          <ac:spMkLst>
            <pc:docMk/>
            <pc:sldMk cId="3549837619" sldId="723"/>
            <ac:spMk id="27" creationId="{6842B57B-C8C8-8B75-582D-E5D71EDBDA06}"/>
          </ac:spMkLst>
        </pc:spChg>
        <pc:spChg chg="mod">
          <ac:chgData name="Ciacci, Aurelia" userId="f09834df-1e97-41e8-bd21-3860a284c5fc" providerId="ADAL" clId="{18FFE5A7-A348-4058-82CE-F26E60DB0D95}" dt="2026-05-11T15:24:48.401" v="17328" actId="1035"/>
          <ac:spMkLst>
            <pc:docMk/>
            <pc:sldMk cId="3549837619" sldId="723"/>
            <ac:spMk id="29" creationId="{0D58B170-5AFE-4CC7-998B-F6AF1E57AD8A}"/>
          </ac:spMkLst>
        </pc:spChg>
        <pc:spChg chg="mod">
          <ac:chgData name="Ciacci, Aurelia" userId="f09834df-1e97-41e8-bd21-3860a284c5fc" providerId="ADAL" clId="{18FFE5A7-A348-4058-82CE-F26E60DB0D95}" dt="2026-05-12T13:42:15.182" v="22085" actId="404"/>
          <ac:spMkLst>
            <pc:docMk/>
            <pc:sldMk cId="3549837619" sldId="723"/>
            <ac:spMk id="34" creationId="{2B9E8EED-66BC-2806-14C6-782734F3B2F6}"/>
          </ac:spMkLst>
        </pc:spChg>
        <pc:spChg chg="mod">
          <ac:chgData name="Ciacci, Aurelia" userId="f09834df-1e97-41e8-bd21-3860a284c5fc" providerId="ADAL" clId="{18FFE5A7-A348-4058-82CE-F26E60DB0D95}" dt="2026-05-11T15:24:40.806" v="17298" actId="1036"/>
          <ac:spMkLst>
            <pc:docMk/>
            <pc:sldMk cId="3549837619" sldId="723"/>
            <ac:spMk id="37" creationId="{8DEA2569-2EFC-05E4-0204-E265A62879E6}"/>
          </ac:spMkLst>
        </pc:spChg>
        <pc:spChg chg="del">
          <ac:chgData name="Ciacci, Aurelia" userId="f09834df-1e97-41e8-bd21-3860a284c5fc" providerId="ADAL" clId="{18FFE5A7-A348-4058-82CE-F26E60DB0D95}" dt="2026-05-11T13:47:06.957" v="12066" actId="478"/>
          <ac:spMkLst>
            <pc:docMk/>
            <pc:sldMk cId="3549837619" sldId="723"/>
            <ac:spMk id="38" creationId="{283D26D8-86CA-3B49-DA93-F900B3F2D6EF}"/>
          </ac:spMkLst>
        </pc:spChg>
        <pc:spChg chg="del mod">
          <ac:chgData name="Ciacci, Aurelia" userId="f09834df-1e97-41e8-bd21-3860a284c5fc" providerId="ADAL" clId="{18FFE5A7-A348-4058-82CE-F26E60DB0D95}" dt="2026-05-11T13:47:06.957" v="12066" actId="478"/>
          <ac:spMkLst>
            <pc:docMk/>
            <pc:sldMk cId="3549837619" sldId="723"/>
            <ac:spMk id="39" creationId="{3A79C3E6-A623-2D09-E92A-31FA6FAC6E85}"/>
          </ac:spMkLst>
        </pc:spChg>
      </pc:sldChg>
      <pc:sldChg chg="addSp delSp modSp add mod modNotesTx">
        <pc:chgData name="Ciacci, Aurelia" userId="f09834df-1e97-41e8-bd21-3860a284c5fc" providerId="ADAL" clId="{18FFE5A7-A348-4058-82CE-F26E60DB0D95}" dt="2026-05-12T13:42:07.801" v="22084" actId="403"/>
        <pc:sldMkLst>
          <pc:docMk/>
          <pc:sldMk cId="2898357705" sldId="724"/>
        </pc:sldMkLst>
        <pc:spChg chg="mod">
          <ac:chgData name="Ciacci, Aurelia" userId="f09834df-1e97-41e8-bd21-3860a284c5fc" providerId="ADAL" clId="{18FFE5A7-A348-4058-82CE-F26E60DB0D95}" dt="2026-05-11T15:29:00.613" v="17360" actId="20577"/>
          <ac:spMkLst>
            <pc:docMk/>
            <pc:sldMk cId="2898357705" sldId="724"/>
            <ac:spMk id="4" creationId="{E6AB2031-F136-8171-4185-4610842E4669}"/>
          </ac:spMkLst>
        </pc:spChg>
        <pc:spChg chg="add mod">
          <ac:chgData name="Ciacci, Aurelia" userId="f09834df-1e97-41e8-bd21-3860a284c5fc" providerId="ADAL" clId="{18FFE5A7-A348-4058-82CE-F26E60DB0D95}" dt="2026-05-11T15:37:13.698" v="17518" actId="20577"/>
          <ac:spMkLst>
            <pc:docMk/>
            <pc:sldMk cId="2898357705" sldId="724"/>
            <ac:spMk id="5" creationId="{AE43D5C6-BDE0-5B75-313E-C11E463C9257}"/>
          </ac:spMkLst>
        </pc:spChg>
        <pc:spChg chg="add mod">
          <ac:chgData name="Ciacci, Aurelia" userId="f09834df-1e97-41e8-bd21-3860a284c5fc" providerId="ADAL" clId="{18FFE5A7-A348-4058-82CE-F26E60DB0D95}" dt="2026-05-11T15:36:14.463" v="17467" actId="207"/>
          <ac:spMkLst>
            <pc:docMk/>
            <pc:sldMk cId="2898357705" sldId="724"/>
            <ac:spMk id="7" creationId="{B2357E55-3E44-3573-7A61-38B8F2C5B598}"/>
          </ac:spMkLst>
        </pc:spChg>
        <pc:spChg chg="del mod">
          <ac:chgData name="Ciacci, Aurelia" userId="f09834df-1e97-41e8-bd21-3860a284c5fc" providerId="ADAL" clId="{18FFE5A7-A348-4058-82CE-F26E60DB0D95}" dt="2026-05-11T15:36:03.680" v="17463" actId="478"/>
          <ac:spMkLst>
            <pc:docMk/>
            <pc:sldMk cId="2898357705" sldId="724"/>
            <ac:spMk id="8" creationId="{4095BE6A-0296-D503-E6E2-67FA46698B57}"/>
          </ac:spMkLst>
        </pc:spChg>
        <pc:spChg chg="del mod">
          <ac:chgData name="Ciacci, Aurelia" userId="f09834df-1e97-41e8-bd21-3860a284c5fc" providerId="ADAL" clId="{18FFE5A7-A348-4058-82CE-F26E60DB0D95}" dt="2026-05-11T15:36:03.680" v="17463" actId="478"/>
          <ac:spMkLst>
            <pc:docMk/>
            <pc:sldMk cId="2898357705" sldId="724"/>
            <ac:spMk id="9" creationId="{C417969C-89A3-4993-6F2C-BB41C73613C4}"/>
          </ac:spMkLst>
        </pc:spChg>
        <pc:spChg chg="mod">
          <ac:chgData name="Ciacci, Aurelia" userId="f09834df-1e97-41e8-bd21-3860a284c5fc" providerId="ADAL" clId="{18FFE5A7-A348-4058-82CE-F26E60DB0D95}" dt="2026-05-12T13:42:07.801" v="22084" actId="403"/>
          <ac:spMkLst>
            <pc:docMk/>
            <pc:sldMk cId="2898357705" sldId="724"/>
            <ac:spMk id="15" creationId="{B4139CA2-9150-B792-11D1-32D8ED63BA67}"/>
          </ac:spMkLst>
        </pc:spChg>
        <pc:spChg chg="mod">
          <ac:chgData name="Ciacci, Aurelia" userId="f09834df-1e97-41e8-bd21-3860a284c5fc" providerId="ADAL" clId="{18FFE5A7-A348-4058-82CE-F26E60DB0D95}" dt="2026-05-11T14:00:50.098" v="12611" actId="20577"/>
          <ac:spMkLst>
            <pc:docMk/>
            <pc:sldMk cId="2898357705" sldId="724"/>
            <ac:spMk id="17" creationId="{E3438018-18B8-B8EE-6731-F56A7295741E}"/>
          </ac:spMkLst>
        </pc:spChg>
        <pc:spChg chg="del">
          <ac:chgData name="Ciacci, Aurelia" userId="f09834df-1e97-41e8-bd21-3860a284c5fc" providerId="ADAL" clId="{18FFE5A7-A348-4058-82CE-F26E60DB0D95}" dt="2026-05-11T13:48:45.702" v="12110" actId="478"/>
          <ac:spMkLst>
            <pc:docMk/>
            <pc:sldMk cId="2898357705" sldId="724"/>
            <ac:spMk id="27" creationId="{70C0CB6A-F2C9-AF8A-384C-88D0533B2E29}"/>
          </ac:spMkLst>
        </pc:spChg>
        <pc:spChg chg="del">
          <ac:chgData name="Ciacci, Aurelia" userId="f09834df-1e97-41e8-bd21-3860a284c5fc" providerId="ADAL" clId="{18FFE5A7-A348-4058-82CE-F26E60DB0D95}" dt="2026-05-11T13:48:45.702" v="12110" actId="478"/>
          <ac:spMkLst>
            <pc:docMk/>
            <pc:sldMk cId="2898357705" sldId="724"/>
            <ac:spMk id="29" creationId="{746C24BB-9D0D-D6D9-5B4C-F9C12BE3D278}"/>
          </ac:spMkLst>
        </pc:spChg>
        <pc:spChg chg="del">
          <ac:chgData name="Ciacci, Aurelia" userId="f09834df-1e97-41e8-bd21-3860a284c5fc" providerId="ADAL" clId="{18FFE5A7-A348-4058-82CE-F26E60DB0D95}" dt="2026-05-11T13:48:48.974" v="12111" actId="478"/>
          <ac:spMkLst>
            <pc:docMk/>
            <pc:sldMk cId="2898357705" sldId="724"/>
            <ac:spMk id="34" creationId="{0920734B-82BF-087A-1BDD-FAEB15E35493}"/>
          </ac:spMkLst>
        </pc:spChg>
        <pc:spChg chg="del">
          <ac:chgData name="Ciacci, Aurelia" userId="f09834df-1e97-41e8-bd21-3860a284c5fc" providerId="ADAL" clId="{18FFE5A7-A348-4058-82CE-F26E60DB0D95}" dt="2026-05-11T13:48:48.974" v="12111" actId="478"/>
          <ac:spMkLst>
            <pc:docMk/>
            <pc:sldMk cId="2898357705" sldId="724"/>
            <ac:spMk id="37" creationId="{5EEE71A2-57ED-2B1C-4941-A42E33235D27}"/>
          </ac:spMkLst>
        </pc:spChg>
        <pc:spChg chg="mod">
          <ac:chgData name="Ciacci, Aurelia" userId="f09834df-1e97-41e8-bd21-3860a284c5fc" providerId="ADAL" clId="{18FFE5A7-A348-4058-82CE-F26E60DB0D95}" dt="2026-05-12T13:42:07.801" v="22084" actId="403"/>
          <ac:spMkLst>
            <pc:docMk/>
            <pc:sldMk cId="2898357705" sldId="724"/>
            <ac:spMk id="38" creationId="{4996B4F8-FBF8-1328-FB74-56B140D41418}"/>
          </ac:spMkLst>
        </pc:spChg>
        <pc:spChg chg="mod">
          <ac:chgData name="Ciacci, Aurelia" userId="f09834df-1e97-41e8-bd21-3860a284c5fc" providerId="ADAL" clId="{18FFE5A7-A348-4058-82CE-F26E60DB0D95}" dt="2026-05-11T13:50:24.292" v="12333" actId="20577"/>
          <ac:spMkLst>
            <pc:docMk/>
            <pc:sldMk cId="2898357705" sldId="724"/>
            <ac:spMk id="39" creationId="{2411CD4B-8D94-4982-0762-62BDA5A2B886}"/>
          </ac:spMkLst>
        </pc:spChg>
      </pc:sldChg>
      <pc:sldChg chg="addSp delSp modSp add mod modNotesTx">
        <pc:chgData name="Ciacci, Aurelia" userId="f09834df-1e97-41e8-bd21-3860a284c5fc" providerId="ADAL" clId="{18FFE5A7-A348-4058-82CE-F26E60DB0D95}" dt="2026-05-11T16:09:53.280" v="19874" actId="20577"/>
        <pc:sldMkLst>
          <pc:docMk/>
          <pc:sldMk cId="1000633261" sldId="725"/>
        </pc:sldMkLst>
        <pc:spChg chg="mod">
          <ac:chgData name="Ciacci, Aurelia" userId="f09834df-1e97-41e8-bd21-3860a284c5fc" providerId="ADAL" clId="{18FFE5A7-A348-4058-82CE-F26E60DB0D95}" dt="2026-05-11T15:29:52.688" v="17368" actId="20577"/>
          <ac:spMkLst>
            <pc:docMk/>
            <pc:sldMk cId="1000633261" sldId="725"/>
            <ac:spMk id="4" creationId="{C430C50F-599A-3B60-EA4F-1EDA2CC39C5B}"/>
          </ac:spMkLst>
        </pc:spChg>
        <pc:spChg chg="add del mod">
          <ac:chgData name="Ciacci, Aurelia" userId="f09834df-1e97-41e8-bd21-3860a284c5fc" providerId="ADAL" clId="{18FFE5A7-A348-4058-82CE-F26E60DB0D95}" dt="2026-05-11T15:31:30.537" v="17399" actId="478"/>
          <ac:spMkLst>
            <pc:docMk/>
            <pc:sldMk cId="1000633261" sldId="725"/>
            <ac:spMk id="5" creationId="{4BF8CC6D-F3FA-2405-73BC-9E5C73E4F273}"/>
          </ac:spMkLst>
        </pc:spChg>
        <pc:spChg chg="add del mod">
          <ac:chgData name="Ciacci, Aurelia" userId="f09834df-1e97-41e8-bd21-3860a284c5fc" providerId="ADAL" clId="{18FFE5A7-A348-4058-82CE-F26E60DB0D95}" dt="2026-05-11T15:36:39.374" v="17471" actId="478"/>
          <ac:spMkLst>
            <pc:docMk/>
            <pc:sldMk cId="1000633261" sldId="725"/>
            <ac:spMk id="7" creationId="{645427B8-7501-BBDC-6A7F-34F12A2F999C}"/>
          </ac:spMkLst>
        </pc:spChg>
        <pc:spChg chg="del">
          <ac:chgData name="Ciacci, Aurelia" userId="f09834df-1e97-41e8-bd21-3860a284c5fc" providerId="ADAL" clId="{18FFE5A7-A348-4058-82CE-F26E60DB0D95}" dt="2026-05-11T13:48:30.376" v="12108" actId="478"/>
          <ac:spMkLst>
            <pc:docMk/>
            <pc:sldMk cId="1000633261" sldId="725"/>
            <ac:spMk id="8" creationId="{5A8790E0-319A-98E3-4ABD-7C6FDB5F300C}"/>
          </ac:spMkLst>
        </pc:spChg>
        <pc:spChg chg="del">
          <ac:chgData name="Ciacci, Aurelia" userId="f09834df-1e97-41e8-bd21-3860a284c5fc" providerId="ADAL" clId="{18FFE5A7-A348-4058-82CE-F26E60DB0D95}" dt="2026-05-11T13:48:30.376" v="12108" actId="478"/>
          <ac:spMkLst>
            <pc:docMk/>
            <pc:sldMk cId="1000633261" sldId="725"/>
            <ac:spMk id="9" creationId="{3F48C426-DAF2-3B07-DAF8-1BA0E208D6D9}"/>
          </ac:spMkLst>
        </pc:spChg>
        <pc:spChg chg="add mod">
          <ac:chgData name="Ciacci, Aurelia" userId="f09834df-1e97-41e8-bd21-3860a284c5fc" providerId="ADAL" clId="{18FFE5A7-A348-4058-82CE-F26E60DB0D95}" dt="2026-05-11T16:05:11.695" v="19405" actId="20577"/>
          <ac:spMkLst>
            <pc:docMk/>
            <pc:sldMk cId="1000633261" sldId="725"/>
            <ac:spMk id="10" creationId="{B74D97B0-692F-EF7B-FB73-3B49F0927B53}"/>
          </ac:spMkLst>
        </pc:spChg>
        <pc:spChg chg="add mod">
          <ac:chgData name="Ciacci, Aurelia" userId="f09834df-1e97-41e8-bd21-3860a284c5fc" providerId="ADAL" clId="{18FFE5A7-A348-4058-82CE-F26E60DB0D95}" dt="2026-05-11T14:01:20.733" v="12701" actId="20577"/>
          <ac:spMkLst>
            <pc:docMk/>
            <pc:sldMk cId="1000633261" sldId="725"/>
            <ac:spMk id="11" creationId="{96B45AEB-F5DF-68CE-A7C9-AC94EEA685F7}"/>
          </ac:spMkLst>
        </pc:spChg>
        <pc:spChg chg="add mod">
          <ac:chgData name="Ciacci, Aurelia" userId="f09834df-1e97-41e8-bd21-3860a284c5fc" providerId="ADAL" clId="{18FFE5A7-A348-4058-82CE-F26E60DB0D95}" dt="2026-05-11T16:09:53.280" v="19874" actId="20577"/>
          <ac:spMkLst>
            <pc:docMk/>
            <pc:sldMk cId="1000633261" sldId="725"/>
            <ac:spMk id="13" creationId="{188D31D0-73F1-F7E9-DCEA-43E524500B8A}"/>
          </ac:spMkLst>
        </pc:spChg>
        <pc:spChg chg="add mod">
          <ac:chgData name="Ciacci, Aurelia" userId="f09834df-1e97-41e8-bd21-3860a284c5fc" providerId="ADAL" clId="{18FFE5A7-A348-4058-82CE-F26E60DB0D95}" dt="2026-05-11T14:01:32.123" v="12743" actId="20577"/>
          <ac:spMkLst>
            <pc:docMk/>
            <pc:sldMk cId="1000633261" sldId="725"/>
            <ac:spMk id="14" creationId="{1456E99D-E6F4-B761-3F86-17249EF21B15}"/>
          </ac:spMkLst>
        </pc:spChg>
        <pc:spChg chg="mod">
          <ac:chgData name="Ciacci, Aurelia" userId="f09834df-1e97-41e8-bd21-3860a284c5fc" providerId="ADAL" clId="{18FFE5A7-A348-4058-82CE-F26E60DB0D95}" dt="2026-05-11T16:01:45.643" v="19048" actId="20577"/>
          <ac:spMkLst>
            <pc:docMk/>
            <pc:sldMk cId="1000633261" sldId="725"/>
            <ac:spMk id="15" creationId="{5D2605C9-76F0-3132-AF45-ACD1207F7C11}"/>
          </ac:spMkLst>
        </pc:spChg>
        <pc:spChg chg="add del mod">
          <ac:chgData name="Ciacci, Aurelia" userId="f09834df-1e97-41e8-bd21-3860a284c5fc" providerId="ADAL" clId="{18FFE5A7-A348-4058-82CE-F26E60DB0D95}" dt="2026-05-11T15:36:39.374" v="17471" actId="478"/>
          <ac:spMkLst>
            <pc:docMk/>
            <pc:sldMk cId="1000633261" sldId="725"/>
            <ac:spMk id="16" creationId="{2765CA0C-9614-5FF9-3A9D-BFA249884EED}"/>
          </ac:spMkLst>
        </pc:spChg>
        <pc:spChg chg="mod">
          <ac:chgData name="Ciacci, Aurelia" userId="f09834df-1e97-41e8-bd21-3860a284c5fc" providerId="ADAL" clId="{18FFE5A7-A348-4058-82CE-F26E60DB0D95}" dt="2026-05-11T13:59:55.488" v="12494" actId="20577"/>
          <ac:spMkLst>
            <pc:docMk/>
            <pc:sldMk cId="1000633261" sldId="725"/>
            <ac:spMk id="17" creationId="{4C2FB48D-5006-82D9-9248-9499F46E803A}"/>
          </ac:spMkLst>
        </pc:spChg>
        <pc:spChg chg="add del mod">
          <ac:chgData name="Ciacci, Aurelia" userId="f09834df-1e97-41e8-bd21-3860a284c5fc" providerId="ADAL" clId="{18FFE5A7-A348-4058-82CE-F26E60DB0D95}" dt="2026-05-11T15:36:41.009" v="17473" actId="478"/>
          <ac:spMkLst>
            <pc:docMk/>
            <pc:sldMk cId="1000633261" sldId="725"/>
            <ac:spMk id="18" creationId="{CE462659-973F-ED3C-4EAB-0A2F66C92EA7}"/>
          </ac:spMkLst>
        </pc:spChg>
        <pc:spChg chg="add mod">
          <ac:chgData name="Ciacci, Aurelia" userId="f09834df-1e97-41e8-bd21-3860a284c5fc" providerId="ADAL" clId="{18FFE5A7-A348-4058-82CE-F26E60DB0D95}" dt="2026-05-11T15:37:19.802" v="17549" actId="20577"/>
          <ac:spMkLst>
            <pc:docMk/>
            <pc:sldMk cId="1000633261" sldId="725"/>
            <ac:spMk id="19" creationId="{7CD8993E-8084-0C6A-8138-90F5565933AB}"/>
          </ac:spMkLst>
        </pc:spChg>
        <pc:spChg chg="add mod">
          <ac:chgData name="Ciacci, Aurelia" userId="f09834df-1e97-41e8-bd21-3860a284c5fc" providerId="ADAL" clId="{18FFE5A7-A348-4058-82CE-F26E60DB0D95}" dt="2026-05-11T15:36:46.123" v="17474"/>
          <ac:spMkLst>
            <pc:docMk/>
            <pc:sldMk cId="1000633261" sldId="725"/>
            <ac:spMk id="21" creationId="{D415D255-E4AF-7A80-99A8-865DA514C8EA}"/>
          </ac:spMkLst>
        </pc:spChg>
        <pc:spChg chg="mod">
          <ac:chgData name="Ciacci, Aurelia" userId="f09834df-1e97-41e8-bd21-3860a284c5fc" providerId="ADAL" clId="{18FFE5A7-A348-4058-82CE-F26E60DB0D95}" dt="2026-05-11T16:01:41.703" v="19035" actId="20577"/>
          <ac:spMkLst>
            <pc:docMk/>
            <pc:sldMk cId="1000633261" sldId="725"/>
            <ac:spMk id="27" creationId="{A723B8B3-4473-7258-01E2-EF5D0C8E50E7}"/>
          </ac:spMkLst>
        </pc:spChg>
        <pc:spChg chg="mod">
          <ac:chgData name="Ciacci, Aurelia" userId="f09834df-1e97-41e8-bd21-3860a284c5fc" providerId="ADAL" clId="{18FFE5A7-A348-4058-82CE-F26E60DB0D95}" dt="2026-05-11T14:01:01.806" v="12637" actId="20577"/>
          <ac:spMkLst>
            <pc:docMk/>
            <pc:sldMk cId="1000633261" sldId="725"/>
            <ac:spMk id="29" creationId="{3AA6DE26-3EC8-1B70-A8B1-ECA9A2C35D6F}"/>
          </ac:spMkLst>
        </pc:spChg>
        <pc:spChg chg="mod">
          <ac:chgData name="Ciacci, Aurelia" userId="f09834df-1e97-41e8-bd21-3860a284c5fc" providerId="ADAL" clId="{18FFE5A7-A348-4058-82CE-F26E60DB0D95}" dt="2026-05-11T16:03:25.141" v="19305" actId="20577"/>
          <ac:spMkLst>
            <pc:docMk/>
            <pc:sldMk cId="1000633261" sldId="725"/>
            <ac:spMk id="34" creationId="{74064383-0858-665C-84A7-DF7F80C928B6}"/>
          </ac:spMkLst>
        </pc:spChg>
        <pc:spChg chg="mod">
          <ac:chgData name="Ciacci, Aurelia" userId="f09834df-1e97-41e8-bd21-3860a284c5fc" providerId="ADAL" clId="{18FFE5A7-A348-4058-82CE-F26E60DB0D95}" dt="2026-05-11T14:01:09.877" v="12668" actId="20577"/>
          <ac:spMkLst>
            <pc:docMk/>
            <pc:sldMk cId="1000633261" sldId="725"/>
            <ac:spMk id="37" creationId="{8624D394-60AA-2388-6F80-43519163C181}"/>
          </ac:spMkLst>
        </pc:spChg>
      </pc:sldChg>
      <pc:sldChg chg="addSp delSp modSp add mod modNotesTx">
        <pc:chgData name="Ciacci, Aurelia" userId="f09834df-1e97-41e8-bd21-3860a284c5fc" providerId="ADAL" clId="{18FFE5A7-A348-4058-82CE-F26E60DB0D95}" dt="2026-05-11T16:15:44.684" v="20792" actId="404"/>
        <pc:sldMkLst>
          <pc:docMk/>
          <pc:sldMk cId="276909782" sldId="726"/>
        </pc:sldMkLst>
        <pc:spChg chg="mod">
          <ac:chgData name="Ciacci, Aurelia" userId="f09834df-1e97-41e8-bd21-3860a284c5fc" providerId="ADAL" clId="{18FFE5A7-A348-4058-82CE-F26E60DB0D95}" dt="2026-05-11T15:29:59.588" v="17376" actId="20577"/>
          <ac:spMkLst>
            <pc:docMk/>
            <pc:sldMk cId="276909782" sldId="726"/>
            <ac:spMk id="4" creationId="{855328D5-6F56-82D9-F33C-538AFA766C94}"/>
          </ac:spMkLst>
        </pc:spChg>
        <pc:spChg chg="add mod">
          <ac:chgData name="Ciacci, Aurelia" userId="f09834df-1e97-41e8-bd21-3860a284c5fc" providerId="ADAL" clId="{18FFE5A7-A348-4058-82CE-F26E60DB0D95}" dt="2026-05-11T15:37:34.346" v="17568" actId="14861"/>
          <ac:spMkLst>
            <pc:docMk/>
            <pc:sldMk cId="276909782" sldId="726"/>
            <ac:spMk id="5" creationId="{3C91F920-F27D-D4EA-47F9-A9362B4C0846}"/>
          </ac:spMkLst>
        </pc:spChg>
        <pc:spChg chg="add mod">
          <ac:chgData name="Ciacci, Aurelia" userId="f09834df-1e97-41e8-bd21-3860a284c5fc" providerId="ADAL" clId="{18FFE5A7-A348-4058-82CE-F26E60DB0D95}" dt="2026-05-11T15:36:58.153" v="17479" actId="207"/>
          <ac:spMkLst>
            <pc:docMk/>
            <pc:sldMk cId="276909782" sldId="726"/>
            <ac:spMk id="7" creationId="{3C7FBB47-FE27-79F3-26C9-F8EB6C403CDC}"/>
          </ac:spMkLst>
        </pc:spChg>
        <pc:spChg chg="del mod">
          <ac:chgData name="Ciacci, Aurelia" userId="f09834df-1e97-41e8-bd21-3860a284c5fc" providerId="ADAL" clId="{18FFE5A7-A348-4058-82CE-F26E60DB0D95}" dt="2026-05-11T15:36:50.577" v="17475" actId="478"/>
          <ac:spMkLst>
            <pc:docMk/>
            <pc:sldMk cId="276909782" sldId="726"/>
            <ac:spMk id="8" creationId="{366DEE19-E310-CE00-0233-850AC149E07E}"/>
          </ac:spMkLst>
        </pc:spChg>
        <pc:spChg chg="del mod">
          <ac:chgData name="Ciacci, Aurelia" userId="f09834df-1e97-41e8-bd21-3860a284c5fc" providerId="ADAL" clId="{18FFE5A7-A348-4058-82CE-F26E60DB0D95}" dt="2026-05-11T15:36:50.577" v="17475" actId="478"/>
          <ac:spMkLst>
            <pc:docMk/>
            <pc:sldMk cId="276909782" sldId="726"/>
            <ac:spMk id="9" creationId="{107E89C3-B8CD-FDB3-9CB5-80B95A9EA593}"/>
          </ac:spMkLst>
        </pc:spChg>
        <pc:spChg chg="mod">
          <ac:chgData name="Ciacci, Aurelia" userId="f09834df-1e97-41e8-bd21-3860a284c5fc" providerId="ADAL" clId="{18FFE5A7-A348-4058-82CE-F26E60DB0D95}" dt="2026-05-11T16:15:44.684" v="20792" actId="404"/>
          <ac:spMkLst>
            <pc:docMk/>
            <pc:sldMk cId="276909782" sldId="726"/>
            <ac:spMk id="15" creationId="{7A38EEAF-9400-F55B-74F9-DE3C4555F814}"/>
          </ac:spMkLst>
        </pc:spChg>
        <pc:spChg chg="mod">
          <ac:chgData name="Ciacci, Aurelia" userId="f09834df-1e97-41e8-bd21-3860a284c5fc" providerId="ADAL" clId="{18FFE5A7-A348-4058-82CE-F26E60DB0D95}" dt="2026-05-11T14:02:57.915" v="12897" actId="20577"/>
          <ac:spMkLst>
            <pc:docMk/>
            <pc:sldMk cId="276909782" sldId="726"/>
            <ac:spMk id="17" creationId="{4E10828B-365A-4C4F-24FD-1E25AA8E82EE}"/>
          </ac:spMkLst>
        </pc:spChg>
        <pc:spChg chg="mod">
          <ac:chgData name="Ciacci, Aurelia" userId="f09834df-1e97-41e8-bd21-3860a284c5fc" providerId="ADAL" clId="{18FFE5A7-A348-4058-82CE-F26E60DB0D95}" dt="2026-05-11T16:15:44.684" v="20792" actId="404"/>
          <ac:spMkLst>
            <pc:docMk/>
            <pc:sldMk cId="276909782" sldId="726"/>
            <ac:spMk id="38" creationId="{36E496E1-FDB1-3FA7-7B63-09D6899118A9}"/>
          </ac:spMkLst>
        </pc:spChg>
        <pc:spChg chg="mod">
          <ac:chgData name="Ciacci, Aurelia" userId="f09834df-1e97-41e8-bd21-3860a284c5fc" providerId="ADAL" clId="{18FFE5A7-A348-4058-82CE-F26E60DB0D95}" dt="2026-05-11T14:03:00.885" v="12902" actId="20577"/>
          <ac:spMkLst>
            <pc:docMk/>
            <pc:sldMk cId="276909782" sldId="726"/>
            <ac:spMk id="39" creationId="{2352F650-846E-FF1B-EFAC-63B9D7142882}"/>
          </ac:spMkLst>
        </pc:spChg>
      </pc:sldChg>
      <pc:sldChg chg="addSp delSp modSp add mod modNotesTx">
        <pc:chgData name="Ciacci, Aurelia" userId="f09834df-1e97-41e8-bd21-3860a284c5fc" providerId="ADAL" clId="{18FFE5A7-A348-4058-82CE-F26E60DB0D95}" dt="2026-05-11T16:26:45.378" v="22072" actId="13926"/>
        <pc:sldMkLst>
          <pc:docMk/>
          <pc:sldMk cId="1305139567" sldId="727"/>
        </pc:sldMkLst>
        <pc:spChg chg="mod">
          <ac:chgData name="Ciacci, Aurelia" userId="f09834df-1e97-41e8-bd21-3860a284c5fc" providerId="ADAL" clId="{18FFE5A7-A348-4058-82CE-F26E60DB0D95}" dt="2026-05-11T15:30:04.803" v="17382" actId="20577"/>
          <ac:spMkLst>
            <pc:docMk/>
            <pc:sldMk cId="1305139567" sldId="727"/>
            <ac:spMk id="4" creationId="{E13B8836-CBB4-7EA9-9E24-DF3A50357E03}"/>
          </ac:spMkLst>
        </pc:spChg>
        <pc:spChg chg="add del mod">
          <ac:chgData name="Ciacci, Aurelia" userId="f09834df-1e97-41e8-bd21-3860a284c5fc" providerId="ADAL" clId="{18FFE5A7-A348-4058-82CE-F26E60DB0D95}" dt="2026-05-11T15:32:04.697" v="17407" actId="478"/>
          <ac:spMkLst>
            <pc:docMk/>
            <pc:sldMk cId="1305139567" sldId="727"/>
            <ac:spMk id="5" creationId="{06DC2E1F-8061-A54C-8E8A-D5366B22C9D2}"/>
          </ac:spMkLst>
        </pc:spChg>
        <pc:spChg chg="add del mod">
          <ac:chgData name="Ciacci, Aurelia" userId="f09834df-1e97-41e8-bd21-3860a284c5fc" providerId="ADAL" clId="{18FFE5A7-A348-4058-82CE-F26E60DB0D95}" dt="2026-05-11T15:37:44.217" v="17569" actId="478"/>
          <ac:spMkLst>
            <pc:docMk/>
            <pc:sldMk cId="1305139567" sldId="727"/>
            <ac:spMk id="7" creationId="{D6CB7F52-8960-433E-8797-C14EC9E89089}"/>
          </ac:spMkLst>
        </pc:spChg>
        <pc:spChg chg="del">
          <ac:chgData name="Ciacci, Aurelia" userId="f09834df-1e97-41e8-bd21-3860a284c5fc" providerId="ADAL" clId="{18FFE5A7-A348-4058-82CE-F26E60DB0D95}" dt="2026-05-11T14:02:33.235" v="12825" actId="478"/>
          <ac:spMkLst>
            <pc:docMk/>
            <pc:sldMk cId="1305139567" sldId="727"/>
            <ac:spMk id="8" creationId="{DDF4AEF5-1512-9CBE-BA31-5DD4BFE4D6D4}"/>
          </ac:spMkLst>
        </pc:spChg>
        <pc:spChg chg="del">
          <ac:chgData name="Ciacci, Aurelia" userId="f09834df-1e97-41e8-bd21-3860a284c5fc" providerId="ADAL" clId="{18FFE5A7-A348-4058-82CE-F26E60DB0D95}" dt="2026-05-11T14:02:33.235" v="12825" actId="478"/>
          <ac:spMkLst>
            <pc:docMk/>
            <pc:sldMk cId="1305139567" sldId="727"/>
            <ac:spMk id="9" creationId="{E3B186DD-50D7-A0DB-7873-F6C48D13222E}"/>
          </ac:spMkLst>
        </pc:spChg>
        <pc:spChg chg="add del mod">
          <ac:chgData name="Ciacci, Aurelia" userId="f09834df-1e97-41e8-bd21-3860a284c5fc" providerId="ADAL" clId="{18FFE5A7-A348-4058-82CE-F26E60DB0D95}" dt="2026-05-11T15:37:44.217" v="17569" actId="478"/>
          <ac:spMkLst>
            <pc:docMk/>
            <pc:sldMk cId="1305139567" sldId="727"/>
            <ac:spMk id="10" creationId="{FC775662-EEC7-D4C9-B339-631933DD12CD}"/>
          </ac:spMkLst>
        </pc:spChg>
        <pc:spChg chg="add mod">
          <ac:chgData name="Ciacci, Aurelia" userId="f09834df-1e97-41e8-bd21-3860a284c5fc" providerId="ADAL" clId="{18FFE5A7-A348-4058-82CE-F26E60DB0D95}" dt="2026-05-11T16:18:21.843" v="21231" actId="20577"/>
          <ac:spMkLst>
            <pc:docMk/>
            <pc:sldMk cId="1305139567" sldId="727"/>
            <ac:spMk id="11" creationId="{D91AFBAE-5C2E-4504-A976-9CDBFBEF4A25}"/>
          </ac:spMkLst>
        </pc:spChg>
        <pc:spChg chg="add mod">
          <ac:chgData name="Ciacci, Aurelia" userId="f09834df-1e97-41e8-bd21-3860a284c5fc" providerId="ADAL" clId="{18FFE5A7-A348-4058-82CE-F26E60DB0D95}" dt="2026-05-11T15:32:57.453" v="17421"/>
          <ac:spMkLst>
            <pc:docMk/>
            <pc:sldMk cId="1305139567" sldId="727"/>
            <ac:spMk id="13" creationId="{CF77D617-5BFB-8A88-F5B3-5AA9A86372B6}"/>
          </ac:spMkLst>
        </pc:spChg>
        <pc:spChg chg="add mod">
          <ac:chgData name="Ciacci, Aurelia" userId="f09834df-1e97-41e8-bd21-3860a284c5fc" providerId="ADAL" clId="{18FFE5A7-A348-4058-82CE-F26E60DB0D95}" dt="2026-05-11T16:26:45.378" v="22072" actId="13926"/>
          <ac:spMkLst>
            <pc:docMk/>
            <pc:sldMk cId="1305139567" sldId="727"/>
            <ac:spMk id="14" creationId="{78AE0850-B5F7-8503-2191-E4F765985CE5}"/>
          </ac:spMkLst>
        </pc:spChg>
        <pc:spChg chg="add del mod">
          <ac:chgData name="Ciacci, Aurelia" userId="f09834df-1e97-41e8-bd21-3860a284c5fc" providerId="ADAL" clId="{18FFE5A7-A348-4058-82CE-F26E60DB0D95}" dt="2026-05-11T15:32:25.029" v="17412" actId="478"/>
          <ac:spMkLst>
            <pc:docMk/>
            <pc:sldMk cId="1305139567" sldId="727"/>
            <ac:spMk id="15" creationId="{043C3539-D9F8-E2C4-0417-994692CDFFC9}"/>
          </ac:spMkLst>
        </pc:spChg>
        <pc:spChg chg="add mod">
          <ac:chgData name="Ciacci, Aurelia" userId="f09834df-1e97-41e8-bd21-3860a284c5fc" providerId="ADAL" clId="{18FFE5A7-A348-4058-82CE-F26E60DB0D95}" dt="2026-05-11T15:33:05.305" v="17425"/>
          <ac:spMkLst>
            <pc:docMk/>
            <pc:sldMk cId="1305139567" sldId="727"/>
            <ac:spMk id="16" creationId="{D7232B7F-EE05-921F-3FAF-FA20EF2C0F4A}"/>
          </ac:spMkLst>
        </pc:spChg>
        <pc:spChg chg="add del mod">
          <ac:chgData name="Ciacci, Aurelia" userId="f09834df-1e97-41e8-bd21-3860a284c5fc" providerId="ADAL" clId="{18FFE5A7-A348-4058-82CE-F26E60DB0D95}" dt="2026-05-11T15:32:25.029" v="17412" actId="478"/>
          <ac:spMkLst>
            <pc:docMk/>
            <pc:sldMk cId="1305139567" sldId="727"/>
            <ac:spMk id="17" creationId="{065D3508-B430-9A75-57B0-7ABD9B3D3D10}"/>
          </ac:spMkLst>
        </pc:spChg>
        <pc:spChg chg="add mod">
          <ac:chgData name="Ciacci, Aurelia" userId="f09834df-1e97-41e8-bd21-3860a284c5fc" providerId="ADAL" clId="{18FFE5A7-A348-4058-82CE-F26E60DB0D95}" dt="2026-05-11T16:24:31.136" v="22008" actId="20577"/>
          <ac:spMkLst>
            <pc:docMk/>
            <pc:sldMk cId="1305139567" sldId="727"/>
            <ac:spMk id="18" creationId="{8142B102-598F-3E6F-C2DE-51358CC4932A}"/>
          </ac:spMkLst>
        </pc:spChg>
        <pc:spChg chg="add mod">
          <ac:chgData name="Ciacci, Aurelia" userId="f09834df-1e97-41e8-bd21-3860a284c5fc" providerId="ADAL" clId="{18FFE5A7-A348-4058-82CE-F26E60DB0D95}" dt="2026-05-11T15:33:18.955" v="17428"/>
          <ac:spMkLst>
            <pc:docMk/>
            <pc:sldMk cId="1305139567" sldId="727"/>
            <ac:spMk id="19" creationId="{495AB9AF-A0F9-19EC-44F4-EF72AE8F0029}"/>
          </ac:spMkLst>
        </pc:spChg>
        <pc:spChg chg="add mod">
          <ac:chgData name="Ciacci, Aurelia" userId="f09834df-1e97-41e8-bd21-3860a284c5fc" providerId="ADAL" clId="{18FFE5A7-A348-4058-82CE-F26E60DB0D95}" dt="2026-05-11T15:37:44.630" v="17570"/>
          <ac:spMkLst>
            <pc:docMk/>
            <pc:sldMk cId="1305139567" sldId="727"/>
            <ac:spMk id="21" creationId="{6A3D5A34-B5E2-D24F-998D-754D0923AC1B}"/>
          </ac:spMkLst>
        </pc:spChg>
        <pc:spChg chg="add mod">
          <ac:chgData name="Ciacci, Aurelia" userId="f09834df-1e97-41e8-bd21-3860a284c5fc" providerId="ADAL" clId="{18FFE5A7-A348-4058-82CE-F26E60DB0D95}" dt="2026-05-11T15:37:44.630" v="17570"/>
          <ac:spMkLst>
            <pc:docMk/>
            <pc:sldMk cId="1305139567" sldId="727"/>
            <ac:spMk id="22" creationId="{BF82648E-894D-FF63-B935-6B4B0C82E732}"/>
          </ac:spMkLst>
        </pc:spChg>
        <pc:spChg chg="add del mod">
          <ac:chgData name="Ciacci, Aurelia" userId="f09834df-1e97-41e8-bd21-3860a284c5fc" providerId="ADAL" clId="{18FFE5A7-A348-4058-82CE-F26E60DB0D95}" dt="2026-05-11T15:32:25.029" v="17412" actId="478"/>
          <ac:spMkLst>
            <pc:docMk/>
            <pc:sldMk cId="1305139567" sldId="727"/>
            <ac:spMk id="27" creationId="{02FC4092-E6C8-E775-2D94-41DF7743F440}"/>
          </ac:spMkLst>
        </pc:spChg>
        <pc:spChg chg="add del mod">
          <ac:chgData name="Ciacci, Aurelia" userId="f09834df-1e97-41e8-bd21-3860a284c5fc" providerId="ADAL" clId="{18FFE5A7-A348-4058-82CE-F26E60DB0D95}" dt="2026-05-11T15:32:25.029" v="17412" actId="478"/>
          <ac:spMkLst>
            <pc:docMk/>
            <pc:sldMk cId="1305139567" sldId="727"/>
            <ac:spMk id="29" creationId="{A7752FE7-2CEE-5CC7-1C37-FF1B62A92341}"/>
          </ac:spMkLst>
        </pc:spChg>
        <pc:spChg chg="add del">
          <ac:chgData name="Ciacci, Aurelia" userId="f09834df-1e97-41e8-bd21-3860a284c5fc" providerId="ADAL" clId="{18FFE5A7-A348-4058-82CE-F26E60DB0D95}" dt="2026-05-11T15:32:25.029" v="17412" actId="478"/>
          <ac:spMkLst>
            <pc:docMk/>
            <pc:sldMk cId="1305139567" sldId="727"/>
            <ac:spMk id="34" creationId="{6AE3A0DE-29DD-8F53-BA7A-2FFA781456B5}"/>
          </ac:spMkLst>
        </pc:spChg>
        <pc:spChg chg="add del mod">
          <ac:chgData name="Ciacci, Aurelia" userId="f09834df-1e97-41e8-bd21-3860a284c5fc" providerId="ADAL" clId="{18FFE5A7-A348-4058-82CE-F26E60DB0D95}" dt="2026-05-11T15:32:25.029" v="17412" actId="478"/>
          <ac:spMkLst>
            <pc:docMk/>
            <pc:sldMk cId="1305139567" sldId="727"/>
            <ac:spMk id="37" creationId="{3275CF9C-CF93-98CD-579A-2EAC7823A764}"/>
          </ac:spMkLst>
        </pc:spChg>
      </pc:sldChg>
      <pc:sldChg chg="addSp delSp modSp add mod">
        <pc:chgData name="Ciacci, Aurelia" userId="f09834df-1e97-41e8-bd21-3860a284c5fc" providerId="ADAL" clId="{18FFE5A7-A348-4058-82CE-F26E60DB0D95}" dt="2026-05-11T14:36:49.142" v="13991"/>
        <pc:sldMkLst>
          <pc:docMk/>
          <pc:sldMk cId="350278100" sldId="728"/>
        </pc:sldMkLst>
        <pc:spChg chg="del mod">
          <ac:chgData name="Ciacci, Aurelia" userId="f09834df-1e97-41e8-bd21-3860a284c5fc" providerId="ADAL" clId="{18FFE5A7-A348-4058-82CE-F26E60DB0D95}" dt="2026-05-11T14:36:48.797" v="13990" actId="478"/>
          <ac:spMkLst>
            <pc:docMk/>
            <pc:sldMk cId="350278100" sldId="728"/>
            <ac:spMk id="5" creationId="{1B815B73-B17C-91CE-3DC0-662227E67223}"/>
          </ac:spMkLst>
        </pc:spChg>
        <pc:spChg chg="add mod">
          <ac:chgData name="Ciacci, Aurelia" userId="f09834df-1e97-41e8-bd21-3860a284c5fc" providerId="ADAL" clId="{18FFE5A7-A348-4058-82CE-F26E60DB0D95}" dt="2026-05-11T14:36:49.142" v="13991"/>
          <ac:spMkLst>
            <pc:docMk/>
            <pc:sldMk cId="350278100" sldId="728"/>
            <ac:spMk id="6" creationId="{2640BA4E-7365-B17F-B310-98B81075F896}"/>
          </ac:spMkLst>
        </pc:spChg>
        <pc:spChg chg="mod">
          <ac:chgData name="Ciacci, Aurelia" userId="f09834df-1e97-41e8-bd21-3860a284c5fc" providerId="ADAL" clId="{18FFE5A7-A348-4058-82CE-F26E60DB0D95}" dt="2026-05-11T14:32:50.969" v="13928" actId="108"/>
          <ac:spMkLst>
            <pc:docMk/>
            <pc:sldMk cId="350278100" sldId="728"/>
            <ac:spMk id="25" creationId="{BBFB768D-118F-2509-8BE6-7E04022C280C}"/>
          </ac:spMkLst>
        </pc:spChg>
        <pc:spChg chg="mod">
          <ac:chgData name="Ciacci, Aurelia" userId="f09834df-1e97-41e8-bd21-3860a284c5fc" providerId="ADAL" clId="{18FFE5A7-A348-4058-82CE-F26E60DB0D95}" dt="2026-05-11T14:32:52.803" v="13929" actId="108"/>
          <ac:spMkLst>
            <pc:docMk/>
            <pc:sldMk cId="350278100" sldId="728"/>
            <ac:spMk id="28" creationId="{8EC990CD-10E0-8AC1-CF0C-51CCFEBD9A59}"/>
          </ac:spMkLst>
        </pc:spChg>
        <pc:spChg chg="mod">
          <ac:chgData name="Ciacci, Aurelia" userId="f09834df-1e97-41e8-bd21-3860a284c5fc" providerId="ADAL" clId="{18FFE5A7-A348-4058-82CE-F26E60DB0D95}" dt="2026-05-11T14:32:54.971" v="13930" actId="108"/>
          <ac:spMkLst>
            <pc:docMk/>
            <pc:sldMk cId="350278100" sldId="728"/>
            <ac:spMk id="32" creationId="{921FB579-E098-ED79-A065-F419F305F204}"/>
          </ac:spMkLst>
        </pc:spChg>
        <pc:spChg chg="mod">
          <ac:chgData name="Ciacci, Aurelia" userId="f09834df-1e97-41e8-bd21-3860a284c5fc" providerId="ADAL" clId="{18FFE5A7-A348-4058-82CE-F26E60DB0D95}" dt="2026-05-11T14:32:57.375" v="13931" actId="108"/>
          <ac:spMkLst>
            <pc:docMk/>
            <pc:sldMk cId="350278100" sldId="728"/>
            <ac:spMk id="35" creationId="{AF35F505-1A1E-F957-B10A-675A5D37C4FE}"/>
          </ac:spMkLst>
        </pc:spChg>
        <pc:spChg chg="mod">
          <ac:chgData name="Ciacci, Aurelia" userId="f09834df-1e97-41e8-bd21-3860a284c5fc" providerId="ADAL" clId="{18FFE5A7-A348-4058-82CE-F26E60DB0D95}" dt="2026-05-11T14:33:05.942" v="13934" actId="2085"/>
          <ac:spMkLst>
            <pc:docMk/>
            <pc:sldMk cId="350278100" sldId="728"/>
            <ac:spMk id="40" creationId="{A0B0E290-8AD9-5C6B-B48A-74D063FC79BE}"/>
          </ac:spMkLst>
        </pc:spChg>
        <pc:spChg chg="mod">
          <ac:chgData name="Ciacci, Aurelia" userId="f09834df-1e97-41e8-bd21-3860a284c5fc" providerId="ADAL" clId="{18FFE5A7-A348-4058-82CE-F26E60DB0D95}" dt="2026-05-11T14:33:09.717" v="13935" actId="108"/>
          <ac:spMkLst>
            <pc:docMk/>
            <pc:sldMk cId="350278100" sldId="728"/>
            <ac:spMk id="43" creationId="{03EB83FB-BFB1-504F-1699-AFB4217E6959}"/>
          </ac:spMkLst>
        </pc:spChg>
        <pc:spChg chg="mod">
          <ac:chgData name="Ciacci, Aurelia" userId="f09834df-1e97-41e8-bd21-3860a284c5fc" providerId="ADAL" clId="{18FFE5A7-A348-4058-82CE-F26E60DB0D95}" dt="2026-05-11T14:33:12.351" v="13936" actId="108"/>
          <ac:spMkLst>
            <pc:docMk/>
            <pc:sldMk cId="350278100" sldId="728"/>
            <ac:spMk id="46" creationId="{C7935C05-277D-34FA-9501-47D750866BBF}"/>
          </ac:spMkLst>
        </pc:spChg>
        <pc:spChg chg="mod">
          <ac:chgData name="Ciacci, Aurelia" userId="f09834df-1e97-41e8-bd21-3860a284c5fc" providerId="ADAL" clId="{18FFE5A7-A348-4058-82CE-F26E60DB0D95}" dt="2026-05-11T14:33:14.832" v="13937" actId="108"/>
          <ac:spMkLst>
            <pc:docMk/>
            <pc:sldMk cId="350278100" sldId="728"/>
            <ac:spMk id="49" creationId="{37A3B8CE-CC62-B69E-9CAB-A24BC8F144D7}"/>
          </ac:spMkLst>
        </pc:spChg>
        <pc:spChg chg="mod">
          <ac:chgData name="Ciacci, Aurelia" userId="f09834df-1e97-41e8-bd21-3860a284c5fc" providerId="ADAL" clId="{18FFE5A7-A348-4058-82CE-F26E60DB0D95}" dt="2026-05-11T14:34:10.988" v="13975" actId="108"/>
          <ac:spMkLst>
            <pc:docMk/>
            <pc:sldMk cId="350278100" sldId="728"/>
            <ac:spMk id="51" creationId="{26EC93F5-0FCB-398C-B4AB-C64832DD8A11}"/>
          </ac:spMkLst>
        </pc:spChg>
      </pc:sldChg>
      <pc:sldChg chg="add del">
        <pc:chgData name="Ciacci, Aurelia" userId="f09834df-1e97-41e8-bd21-3860a284c5fc" providerId="ADAL" clId="{18FFE5A7-A348-4058-82CE-F26E60DB0D95}" dt="2026-05-11T15:33:22.561" v="17432" actId="47"/>
        <pc:sldMkLst>
          <pc:docMk/>
          <pc:sldMk cId="4105486806" sldId="730"/>
        </pc:sldMkLst>
      </pc:sldChg>
    </pc:docChg>
  </pc:docChgLst>
  <pc:docChgLst>
    <pc:chgData name="Rossi, Flavia" userId="8dc1e8dd-c791-47bd-880d-50f89b3b999c" providerId="ADAL" clId="{94B328AF-1D6D-4189-87BE-6622B2302941}"/>
    <pc:docChg chg="undo custSel addSld delSld modSld modSection">
      <pc:chgData name="Rossi, Flavia" userId="8dc1e8dd-c791-47bd-880d-50f89b3b999c" providerId="ADAL" clId="{94B328AF-1D6D-4189-87BE-6622B2302941}" dt="2026-05-12T15:20:08.305" v="3898" actId="20577"/>
      <pc:docMkLst>
        <pc:docMk/>
      </pc:docMkLst>
      <pc:sldChg chg="modSp mod">
        <pc:chgData name="Rossi, Flavia" userId="8dc1e8dd-c791-47bd-880d-50f89b3b999c" providerId="ADAL" clId="{94B328AF-1D6D-4189-87BE-6622B2302941}" dt="2026-05-05T09:04:13.632" v="59" actId="2711"/>
        <pc:sldMkLst>
          <pc:docMk/>
          <pc:sldMk cId="182015667" sldId="270"/>
        </pc:sldMkLst>
        <pc:spChg chg="mod">
          <ac:chgData name="Rossi, Flavia" userId="8dc1e8dd-c791-47bd-880d-50f89b3b999c" providerId="ADAL" clId="{94B328AF-1D6D-4189-87BE-6622B2302941}" dt="2026-05-05T09:04:07.269" v="58" actId="2711"/>
          <ac:spMkLst>
            <pc:docMk/>
            <pc:sldMk cId="182015667" sldId="270"/>
            <ac:spMk id="6" creationId="{D129D2D4-1011-1583-281E-46FEFBADBAD0}"/>
          </ac:spMkLst>
        </pc:spChg>
        <pc:spChg chg="mod">
          <ac:chgData name="Rossi, Flavia" userId="8dc1e8dd-c791-47bd-880d-50f89b3b999c" providerId="ADAL" clId="{94B328AF-1D6D-4189-87BE-6622B2302941}" dt="2026-05-05T09:04:13.632" v="59" actId="2711"/>
          <ac:spMkLst>
            <pc:docMk/>
            <pc:sldMk cId="182015667" sldId="270"/>
            <ac:spMk id="17" creationId="{CFB7368E-B277-1AC8-784A-935D6F4DFDF5}"/>
          </ac:spMkLst>
        </pc:spChg>
      </pc:sldChg>
      <pc:sldChg chg="addSp delSp modSp mod">
        <pc:chgData name="Rossi, Flavia" userId="8dc1e8dd-c791-47bd-880d-50f89b3b999c" providerId="ADAL" clId="{94B328AF-1D6D-4189-87BE-6622B2302941}" dt="2026-05-12T09:32:15.217" v="1680" actId="478"/>
        <pc:sldMkLst>
          <pc:docMk/>
          <pc:sldMk cId="1317860926" sldId="333"/>
        </pc:sldMkLst>
        <pc:spChg chg="add mod">
          <ac:chgData name="Rossi, Flavia" userId="8dc1e8dd-c791-47bd-880d-50f89b3b999c" providerId="ADAL" clId="{94B328AF-1D6D-4189-87BE-6622B2302941}" dt="2026-05-08T12:02:06.859" v="529" actId="1076"/>
          <ac:spMkLst>
            <pc:docMk/>
            <pc:sldMk cId="1317860926" sldId="333"/>
            <ac:spMk id="3" creationId="{1BFBD1E4-35B7-B413-96FB-DA8A87455F26}"/>
          </ac:spMkLst>
        </pc:spChg>
        <pc:spChg chg="add mod">
          <ac:chgData name="Rossi, Flavia" userId="8dc1e8dd-c791-47bd-880d-50f89b3b999c" providerId="ADAL" clId="{94B328AF-1D6D-4189-87BE-6622B2302941}" dt="2026-05-08T12:01:03.078" v="513" actId="1076"/>
          <ac:spMkLst>
            <pc:docMk/>
            <pc:sldMk cId="1317860926" sldId="333"/>
            <ac:spMk id="5" creationId="{FC2F0F38-61DA-C7CD-3F6B-1A60E6D5D33A}"/>
          </ac:spMkLst>
        </pc:spChg>
        <pc:spChg chg="del">
          <ac:chgData name="Rossi, Flavia" userId="8dc1e8dd-c791-47bd-880d-50f89b3b999c" providerId="ADAL" clId="{94B328AF-1D6D-4189-87BE-6622B2302941}" dt="2026-05-12T09:32:15.217" v="1680" actId="478"/>
          <ac:spMkLst>
            <pc:docMk/>
            <pc:sldMk cId="1317860926" sldId="333"/>
            <ac:spMk id="8" creationId="{FEFB4E84-0347-5B82-679C-E806105A3C11}"/>
          </ac:spMkLst>
        </pc:spChg>
        <pc:spChg chg="mod">
          <ac:chgData name="Rossi, Flavia" userId="8dc1e8dd-c791-47bd-880d-50f89b3b999c" providerId="ADAL" clId="{94B328AF-1D6D-4189-87BE-6622B2302941}" dt="2026-05-08T11:54:26.903" v="72" actId="255"/>
          <ac:spMkLst>
            <pc:docMk/>
            <pc:sldMk cId="1317860926" sldId="333"/>
            <ac:spMk id="100" creationId="{14A4A423-B70B-91B4-66F7-F34F2507EB77}"/>
          </ac:spMkLst>
        </pc:spChg>
      </pc:sldChg>
      <pc:sldChg chg="modSp mod">
        <pc:chgData name="Rossi, Flavia" userId="8dc1e8dd-c791-47bd-880d-50f89b3b999c" providerId="ADAL" clId="{94B328AF-1D6D-4189-87BE-6622B2302941}" dt="2026-05-12T12:38:02.677" v="3439" actId="20577"/>
        <pc:sldMkLst>
          <pc:docMk/>
          <pc:sldMk cId="1751751344" sldId="335"/>
        </pc:sldMkLst>
        <pc:spChg chg="mod">
          <ac:chgData name="Rossi, Flavia" userId="8dc1e8dd-c791-47bd-880d-50f89b3b999c" providerId="ADAL" clId="{94B328AF-1D6D-4189-87BE-6622B2302941}" dt="2026-05-12T12:38:02.677" v="3439" actId="20577"/>
          <ac:spMkLst>
            <pc:docMk/>
            <pc:sldMk cId="1751751344" sldId="335"/>
            <ac:spMk id="5" creationId="{CABCB0A9-D653-3789-7432-7D6C6462734B}"/>
          </ac:spMkLst>
        </pc:spChg>
      </pc:sldChg>
      <pc:sldChg chg="modSp mod">
        <pc:chgData name="Rossi, Flavia" userId="8dc1e8dd-c791-47bd-880d-50f89b3b999c" providerId="ADAL" clId="{94B328AF-1D6D-4189-87BE-6622B2302941}" dt="2026-05-12T13:07:21.375" v="3820" actId="13926"/>
        <pc:sldMkLst>
          <pc:docMk/>
          <pc:sldMk cId="2015608427" sldId="661"/>
        </pc:sldMkLst>
        <pc:spChg chg="mod">
          <ac:chgData name="Rossi, Flavia" userId="8dc1e8dd-c791-47bd-880d-50f89b3b999c" providerId="ADAL" clId="{94B328AF-1D6D-4189-87BE-6622B2302941}" dt="2026-05-05T09:02:44.643" v="53" actId="2711"/>
          <ac:spMkLst>
            <pc:docMk/>
            <pc:sldMk cId="2015608427" sldId="661"/>
            <ac:spMk id="2" creationId="{5510E56A-F2BE-78CE-68A2-CF3C46068027}"/>
          </ac:spMkLst>
        </pc:spChg>
        <pc:spChg chg="mod">
          <ac:chgData name="Rossi, Flavia" userId="8dc1e8dd-c791-47bd-880d-50f89b3b999c" providerId="ADAL" clId="{94B328AF-1D6D-4189-87BE-6622B2302941}" dt="2026-05-12T13:07:21.375" v="3820" actId="13926"/>
          <ac:spMkLst>
            <pc:docMk/>
            <pc:sldMk cId="2015608427" sldId="661"/>
            <ac:spMk id="3" creationId="{A8F1CBB0-71C2-B9D2-1B5F-3C93E249BF86}"/>
          </ac:spMkLst>
        </pc:spChg>
      </pc:sldChg>
      <pc:sldChg chg="addSp delSp modSp mod modNotesTx">
        <pc:chgData name="Rossi, Flavia" userId="8dc1e8dd-c791-47bd-880d-50f89b3b999c" providerId="ADAL" clId="{94B328AF-1D6D-4189-87BE-6622B2302941}" dt="2026-05-12T13:08:06.514" v="3835" actId="20577"/>
        <pc:sldMkLst>
          <pc:docMk/>
          <pc:sldMk cId="1355272018" sldId="705"/>
        </pc:sldMkLst>
        <pc:spChg chg="add mod">
          <ac:chgData name="Rossi, Flavia" userId="8dc1e8dd-c791-47bd-880d-50f89b3b999c" providerId="ADAL" clId="{94B328AF-1D6D-4189-87BE-6622B2302941}" dt="2026-05-12T10:51:41.766" v="2419" actId="1036"/>
          <ac:spMkLst>
            <pc:docMk/>
            <pc:sldMk cId="1355272018" sldId="705"/>
            <ac:spMk id="6" creationId="{48EAF247-EA1C-B2CE-2278-6D3CC8128C1F}"/>
          </ac:spMkLst>
        </pc:spChg>
        <pc:spChg chg="del mod">
          <ac:chgData name="Rossi, Flavia" userId="8dc1e8dd-c791-47bd-880d-50f89b3b999c" providerId="ADAL" clId="{94B328AF-1D6D-4189-87BE-6622B2302941}" dt="2026-05-12T10:50:01.625" v="2347"/>
          <ac:spMkLst>
            <pc:docMk/>
            <pc:sldMk cId="1355272018" sldId="705"/>
            <ac:spMk id="8" creationId="{21E7BA90-D7CE-A9F7-9FF5-5D1CF9CD2A4F}"/>
          </ac:spMkLst>
        </pc:spChg>
        <pc:spChg chg="add del mod">
          <ac:chgData name="Rossi, Flavia" userId="8dc1e8dd-c791-47bd-880d-50f89b3b999c" providerId="ADAL" clId="{94B328AF-1D6D-4189-87BE-6622B2302941}" dt="2026-05-12T10:50:38.689" v="2378" actId="14100"/>
          <ac:spMkLst>
            <pc:docMk/>
            <pc:sldMk cId="1355272018" sldId="705"/>
            <ac:spMk id="9" creationId="{B5251CEF-3A25-70C4-B42C-5769993329D8}"/>
          </ac:spMkLst>
        </pc:spChg>
        <pc:spChg chg="add del mod">
          <ac:chgData name="Rossi, Flavia" userId="8dc1e8dd-c791-47bd-880d-50f89b3b999c" providerId="ADAL" clId="{94B328AF-1D6D-4189-87BE-6622B2302941}" dt="2026-05-12T10:51:10.560" v="2402" actId="1035"/>
          <ac:spMkLst>
            <pc:docMk/>
            <pc:sldMk cId="1355272018" sldId="705"/>
            <ac:spMk id="10" creationId="{FD6F9FB3-AD19-F532-E01E-49DE82C1DBD3}"/>
          </ac:spMkLst>
        </pc:spChg>
        <pc:spChg chg="mod">
          <ac:chgData name="Rossi, Flavia" userId="8dc1e8dd-c791-47bd-880d-50f89b3b999c" providerId="ADAL" clId="{94B328AF-1D6D-4189-87BE-6622B2302941}" dt="2026-05-12T10:51:10.560" v="2402" actId="1035"/>
          <ac:spMkLst>
            <pc:docMk/>
            <pc:sldMk cId="1355272018" sldId="705"/>
            <ac:spMk id="11" creationId="{3016CF06-14D7-FA2F-7D75-20A511450F72}"/>
          </ac:spMkLst>
        </pc:spChg>
        <pc:spChg chg="add del mod">
          <ac:chgData name="Rossi, Flavia" userId="8dc1e8dd-c791-47bd-880d-50f89b3b999c" providerId="ADAL" clId="{94B328AF-1D6D-4189-87BE-6622B2302941}" dt="2026-05-12T10:51:10.560" v="2402" actId="1035"/>
          <ac:spMkLst>
            <pc:docMk/>
            <pc:sldMk cId="1355272018" sldId="705"/>
            <ac:spMk id="12" creationId="{BDFA9204-E10E-F222-863F-90B3BD3CD90B}"/>
          </ac:spMkLst>
        </pc:spChg>
        <pc:spChg chg="add del mod">
          <ac:chgData name="Rossi, Flavia" userId="8dc1e8dd-c791-47bd-880d-50f89b3b999c" providerId="ADAL" clId="{94B328AF-1D6D-4189-87BE-6622B2302941}" dt="2026-05-12T10:50:35.249" v="2377" actId="1076"/>
          <ac:spMkLst>
            <pc:docMk/>
            <pc:sldMk cId="1355272018" sldId="705"/>
            <ac:spMk id="13" creationId="{A9E0301E-8FAE-9F78-EBEC-045C8B6FE2CC}"/>
          </ac:spMkLst>
        </pc:spChg>
      </pc:sldChg>
      <pc:sldChg chg="addSp delSp modSp mod">
        <pc:chgData name="Rossi, Flavia" userId="8dc1e8dd-c791-47bd-880d-50f89b3b999c" providerId="ADAL" clId="{94B328AF-1D6D-4189-87BE-6622B2302941}" dt="2026-05-12T13:07:35.439" v="3821" actId="2711"/>
        <pc:sldMkLst>
          <pc:docMk/>
          <pc:sldMk cId="3993737009" sldId="708"/>
        </pc:sldMkLst>
        <pc:spChg chg="mod">
          <ac:chgData name="Rossi, Flavia" userId="8dc1e8dd-c791-47bd-880d-50f89b3b999c" providerId="ADAL" clId="{94B328AF-1D6D-4189-87BE-6622B2302941}" dt="2026-05-12T09:44:23.251" v="1948" actId="1076"/>
          <ac:spMkLst>
            <pc:docMk/>
            <pc:sldMk cId="3993737009" sldId="708"/>
            <ac:spMk id="3" creationId="{ABBC822D-BAD0-3465-18B3-76FE658947F4}"/>
          </ac:spMkLst>
        </pc:spChg>
        <pc:spChg chg="add del mod">
          <ac:chgData name="Rossi, Flavia" userId="8dc1e8dd-c791-47bd-880d-50f89b3b999c" providerId="ADAL" clId="{94B328AF-1D6D-4189-87BE-6622B2302941}" dt="2026-05-12T09:41:06.114" v="1734" actId="478"/>
          <ac:spMkLst>
            <pc:docMk/>
            <pc:sldMk cId="3993737009" sldId="708"/>
            <ac:spMk id="6" creationId="{F2123C90-D977-9EBE-35F2-1380EABDE9DB}"/>
          </ac:spMkLst>
        </pc:spChg>
        <pc:spChg chg="add mod">
          <ac:chgData name="Rossi, Flavia" userId="8dc1e8dd-c791-47bd-880d-50f89b3b999c" providerId="ADAL" clId="{94B328AF-1D6D-4189-87BE-6622B2302941}" dt="2026-05-08T12:00:52.526" v="510" actId="1035"/>
          <ac:spMkLst>
            <pc:docMk/>
            <pc:sldMk cId="3993737009" sldId="708"/>
            <ac:spMk id="7" creationId="{D271B3A6-702C-3765-D52B-F2BAD9F0A172}"/>
          </ac:spMkLst>
        </pc:spChg>
        <pc:spChg chg="mod">
          <ac:chgData name="Rossi, Flavia" userId="8dc1e8dd-c791-47bd-880d-50f89b3b999c" providerId="ADAL" clId="{94B328AF-1D6D-4189-87BE-6622B2302941}" dt="2026-05-12T13:07:35.439" v="3821" actId="2711"/>
          <ac:spMkLst>
            <pc:docMk/>
            <pc:sldMk cId="3993737009" sldId="708"/>
            <ac:spMk id="19" creationId="{C0BC97EC-613E-4DB3-5CA9-456A4D8D76EF}"/>
          </ac:spMkLst>
        </pc:spChg>
        <pc:spChg chg="mod">
          <ac:chgData name="Rossi, Flavia" userId="8dc1e8dd-c791-47bd-880d-50f89b3b999c" providerId="ADAL" clId="{94B328AF-1D6D-4189-87BE-6622B2302941}" dt="2026-05-08T17:54:41.513" v="703" actId="20577"/>
          <ac:spMkLst>
            <pc:docMk/>
            <pc:sldMk cId="3993737009" sldId="708"/>
            <ac:spMk id="37" creationId="{83A3752B-5ECA-A075-46DB-C22EA2605A6D}"/>
          </ac:spMkLst>
        </pc:spChg>
        <pc:spChg chg="mod">
          <ac:chgData name="Rossi, Flavia" userId="8dc1e8dd-c791-47bd-880d-50f89b3b999c" providerId="ADAL" clId="{94B328AF-1D6D-4189-87BE-6622B2302941}" dt="2026-05-08T17:54:10.063" v="696" actId="6549"/>
          <ac:spMkLst>
            <pc:docMk/>
            <pc:sldMk cId="3993737009" sldId="708"/>
            <ac:spMk id="47" creationId="{08ADC25F-2476-9AE6-D362-AC7248CE077C}"/>
          </ac:spMkLst>
        </pc:spChg>
        <pc:spChg chg="mod">
          <ac:chgData name="Rossi, Flavia" userId="8dc1e8dd-c791-47bd-880d-50f89b3b999c" providerId="ADAL" clId="{94B328AF-1D6D-4189-87BE-6622B2302941}" dt="2026-05-08T11:58:29.503" v="376" actId="20577"/>
          <ac:spMkLst>
            <pc:docMk/>
            <pc:sldMk cId="3993737009" sldId="708"/>
            <ac:spMk id="51" creationId="{FD1C4070-314F-4772-9EB8-B8399D6F0F2B}"/>
          </ac:spMkLst>
        </pc:spChg>
        <pc:spChg chg="mod">
          <ac:chgData name="Rossi, Flavia" userId="8dc1e8dd-c791-47bd-880d-50f89b3b999c" providerId="ADAL" clId="{94B328AF-1D6D-4189-87BE-6622B2302941}" dt="2026-05-08T17:54:36.660" v="701" actId="20577"/>
          <ac:spMkLst>
            <pc:docMk/>
            <pc:sldMk cId="3993737009" sldId="708"/>
            <ac:spMk id="52" creationId="{64422462-229F-A403-BB6A-1E9571F05D51}"/>
          </ac:spMkLst>
        </pc:spChg>
      </pc:sldChg>
      <pc:sldChg chg="addSp delSp modSp mod">
        <pc:chgData name="Rossi, Flavia" userId="8dc1e8dd-c791-47bd-880d-50f89b3b999c" providerId="ADAL" clId="{94B328AF-1D6D-4189-87BE-6622B2302941}" dt="2026-05-12T09:47:59.401" v="1999" actId="1035"/>
        <pc:sldMkLst>
          <pc:docMk/>
          <pc:sldMk cId="1289130398" sldId="709"/>
        </pc:sldMkLst>
        <pc:spChg chg="add mod">
          <ac:chgData name="Rossi, Flavia" userId="8dc1e8dd-c791-47bd-880d-50f89b3b999c" providerId="ADAL" clId="{94B328AF-1D6D-4189-87BE-6622B2302941}" dt="2026-05-12T09:47:54.424" v="1996" actId="20577"/>
          <ac:spMkLst>
            <pc:docMk/>
            <pc:sldMk cId="1289130398" sldId="709"/>
            <ac:spMk id="5" creationId="{751CB66A-742E-48AE-4A47-45DB153E5474}"/>
          </ac:spMkLst>
        </pc:spChg>
        <pc:spChg chg="mod">
          <ac:chgData name="Rossi, Flavia" userId="8dc1e8dd-c791-47bd-880d-50f89b3b999c" providerId="ADAL" clId="{94B328AF-1D6D-4189-87BE-6622B2302941}" dt="2026-05-08T12:17:22.293" v="595" actId="208"/>
          <ac:spMkLst>
            <pc:docMk/>
            <pc:sldMk cId="1289130398" sldId="709"/>
            <ac:spMk id="11" creationId="{07E3178A-1B7F-6F70-B69F-A3DC62A78834}"/>
          </ac:spMkLst>
        </pc:spChg>
        <pc:spChg chg="mod">
          <ac:chgData name="Rossi, Flavia" userId="8dc1e8dd-c791-47bd-880d-50f89b3b999c" providerId="ADAL" clId="{94B328AF-1D6D-4189-87BE-6622B2302941}" dt="2026-05-08T12:18:00.872" v="596" actId="2085"/>
          <ac:spMkLst>
            <pc:docMk/>
            <pc:sldMk cId="1289130398" sldId="709"/>
            <ac:spMk id="12" creationId="{A311D808-A74A-948F-856F-CBA1C58C3BC9}"/>
          </ac:spMkLst>
        </pc:spChg>
        <pc:spChg chg="mod">
          <ac:chgData name="Rossi, Flavia" userId="8dc1e8dd-c791-47bd-880d-50f89b3b999c" providerId="ADAL" clId="{94B328AF-1D6D-4189-87BE-6622B2302941}" dt="2026-05-08T12:17:22.293" v="595" actId="208"/>
          <ac:spMkLst>
            <pc:docMk/>
            <pc:sldMk cId="1289130398" sldId="709"/>
            <ac:spMk id="13" creationId="{0AAA8267-6B1B-A14C-5C68-F9CD6361C4B4}"/>
          </ac:spMkLst>
        </pc:spChg>
        <pc:spChg chg="mod">
          <ac:chgData name="Rossi, Flavia" userId="8dc1e8dd-c791-47bd-880d-50f89b3b999c" providerId="ADAL" clId="{94B328AF-1D6D-4189-87BE-6622B2302941}" dt="2026-05-08T12:17:22.293" v="595" actId="208"/>
          <ac:spMkLst>
            <pc:docMk/>
            <pc:sldMk cId="1289130398" sldId="709"/>
            <ac:spMk id="14" creationId="{C5E819D2-A449-6BE7-EE9B-A0D48E6D0975}"/>
          </ac:spMkLst>
        </pc:spChg>
        <pc:spChg chg="mod">
          <ac:chgData name="Rossi, Flavia" userId="8dc1e8dd-c791-47bd-880d-50f89b3b999c" providerId="ADAL" clId="{94B328AF-1D6D-4189-87BE-6622B2302941}" dt="2026-05-08T12:18:00.872" v="596" actId="2085"/>
          <ac:spMkLst>
            <pc:docMk/>
            <pc:sldMk cId="1289130398" sldId="709"/>
            <ac:spMk id="15" creationId="{A6D492BE-8BBE-68C9-ACFB-94889BFD552E}"/>
          </ac:spMkLst>
        </pc:spChg>
        <pc:spChg chg="mod">
          <ac:chgData name="Rossi, Flavia" userId="8dc1e8dd-c791-47bd-880d-50f89b3b999c" providerId="ADAL" clId="{94B328AF-1D6D-4189-87BE-6622B2302941}" dt="2026-05-08T12:17:22.293" v="595" actId="208"/>
          <ac:spMkLst>
            <pc:docMk/>
            <pc:sldMk cId="1289130398" sldId="709"/>
            <ac:spMk id="16" creationId="{0FE1B07C-714E-5D67-E564-5CED281D7C4D}"/>
          </ac:spMkLst>
        </pc:spChg>
        <pc:spChg chg="mod">
          <ac:chgData name="Rossi, Flavia" userId="8dc1e8dd-c791-47bd-880d-50f89b3b999c" providerId="ADAL" clId="{94B328AF-1D6D-4189-87BE-6622B2302941}" dt="2026-05-08T12:17:22.293" v="595" actId="208"/>
          <ac:spMkLst>
            <pc:docMk/>
            <pc:sldMk cId="1289130398" sldId="709"/>
            <ac:spMk id="17" creationId="{F6754FDE-BB1B-EA45-167E-9294E2003880}"/>
          </ac:spMkLst>
        </pc:spChg>
        <pc:spChg chg="mod">
          <ac:chgData name="Rossi, Flavia" userId="8dc1e8dd-c791-47bd-880d-50f89b3b999c" providerId="ADAL" clId="{94B328AF-1D6D-4189-87BE-6622B2302941}" dt="2026-05-08T12:18:00.872" v="596" actId="2085"/>
          <ac:spMkLst>
            <pc:docMk/>
            <pc:sldMk cId="1289130398" sldId="709"/>
            <ac:spMk id="18" creationId="{E6F939D8-E51D-7BEE-B41F-2B739AA01506}"/>
          </ac:spMkLst>
        </pc:spChg>
        <pc:spChg chg="add mod">
          <ac:chgData name="Rossi, Flavia" userId="8dc1e8dd-c791-47bd-880d-50f89b3b999c" providerId="ADAL" clId="{94B328AF-1D6D-4189-87BE-6622B2302941}" dt="2026-05-08T12:14:44.929" v="567" actId="207"/>
          <ac:spMkLst>
            <pc:docMk/>
            <pc:sldMk cId="1289130398" sldId="709"/>
            <ac:spMk id="21" creationId="{45441295-45A5-BDBA-9412-0B50B7F3B18B}"/>
          </ac:spMkLst>
        </pc:spChg>
        <pc:spChg chg="mod">
          <ac:chgData name="Rossi, Flavia" userId="8dc1e8dd-c791-47bd-880d-50f89b3b999c" providerId="ADAL" clId="{94B328AF-1D6D-4189-87BE-6622B2302941}" dt="2026-05-08T12:18:00.872" v="596" actId="2085"/>
          <ac:spMkLst>
            <pc:docMk/>
            <pc:sldMk cId="1289130398" sldId="709"/>
            <ac:spMk id="26" creationId="{3CE87851-D0F2-3A70-5F5D-B25DA5D15D99}"/>
          </ac:spMkLst>
        </pc:spChg>
        <pc:spChg chg="mod">
          <ac:chgData name="Rossi, Flavia" userId="8dc1e8dd-c791-47bd-880d-50f89b3b999c" providerId="ADAL" clId="{94B328AF-1D6D-4189-87BE-6622B2302941}" dt="2026-05-08T12:17:22.293" v="595" actId="208"/>
          <ac:spMkLst>
            <pc:docMk/>
            <pc:sldMk cId="1289130398" sldId="709"/>
            <ac:spMk id="27" creationId="{E4FEA394-934F-1B93-3A0C-7C47E3B7D52F}"/>
          </ac:spMkLst>
        </pc:spChg>
        <pc:spChg chg="mod">
          <ac:chgData name="Rossi, Flavia" userId="8dc1e8dd-c791-47bd-880d-50f89b3b999c" providerId="ADAL" clId="{94B328AF-1D6D-4189-87BE-6622B2302941}" dt="2026-05-08T12:17:22.293" v="595" actId="208"/>
          <ac:spMkLst>
            <pc:docMk/>
            <pc:sldMk cId="1289130398" sldId="709"/>
            <ac:spMk id="29" creationId="{6E5B91BE-8DC5-B97D-8413-267081EDE11E}"/>
          </ac:spMkLst>
        </pc:spChg>
        <pc:spChg chg="mod">
          <ac:chgData name="Rossi, Flavia" userId="8dc1e8dd-c791-47bd-880d-50f89b3b999c" providerId="ADAL" clId="{94B328AF-1D6D-4189-87BE-6622B2302941}" dt="2026-05-08T12:17:22.293" v="595" actId="208"/>
          <ac:spMkLst>
            <pc:docMk/>
            <pc:sldMk cId="1289130398" sldId="709"/>
            <ac:spMk id="30" creationId="{C0309AD4-8BA8-1A96-458C-CB6607A3D4E5}"/>
          </ac:spMkLst>
        </pc:spChg>
        <pc:spChg chg="mod">
          <ac:chgData name="Rossi, Flavia" userId="8dc1e8dd-c791-47bd-880d-50f89b3b999c" providerId="ADAL" clId="{94B328AF-1D6D-4189-87BE-6622B2302941}" dt="2026-05-08T12:18:00.872" v="596" actId="2085"/>
          <ac:spMkLst>
            <pc:docMk/>
            <pc:sldMk cId="1289130398" sldId="709"/>
            <ac:spMk id="32" creationId="{2CB064F9-5B4D-1595-6243-9D667C625D3A}"/>
          </ac:spMkLst>
        </pc:spChg>
        <pc:spChg chg="mod">
          <ac:chgData name="Rossi, Flavia" userId="8dc1e8dd-c791-47bd-880d-50f89b3b999c" providerId="ADAL" clId="{94B328AF-1D6D-4189-87BE-6622B2302941}" dt="2026-05-12T09:47:59.401" v="1999" actId="1035"/>
          <ac:spMkLst>
            <pc:docMk/>
            <pc:sldMk cId="1289130398" sldId="709"/>
            <ac:spMk id="52" creationId="{E7666AE7-A521-54A5-B845-5CBD24DA0402}"/>
          </ac:spMkLst>
        </pc:spChg>
        <pc:graphicFrameChg chg="mod">
          <ac:chgData name="Rossi, Flavia" userId="8dc1e8dd-c791-47bd-880d-50f89b3b999c" providerId="ADAL" clId="{94B328AF-1D6D-4189-87BE-6622B2302941}" dt="2026-05-08T17:55:51.854" v="709"/>
          <ac:graphicFrameMkLst>
            <pc:docMk/>
            <pc:sldMk cId="1289130398" sldId="709"/>
            <ac:graphicFrameMk id="7" creationId="{97E710D1-018B-91E5-3788-1440E960FCDB}"/>
          </ac:graphicFrameMkLst>
        </pc:graphicFrameChg>
      </pc:sldChg>
      <pc:sldChg chg="addSp delSp modSp mod">
        <pc:chgData name="Rossi, Flavia" userId="8dc1e8dd-c791-47bd-880d-50f89b3b999c" providerId="ADAL" clId="{94B328AF-1D6D-4189-87BE-6622B2302941}" dt="2026-05-12T09:47:48.340" v="1981" actId="20577"/>
        <pc:sldMkLst>
          <pc:docMk/>
          <pc:sldMk cId="2086456195" sldId="710"/>
        </pc:sldMkLst>
        <pc:spChg chg="add mod">
          <ac:chgData name="Rossi, Flavia" userId="8dc1e8dd-c791-47bd-880d-50f89b3b999c" providerId="ADAL" clId="{94B328AF-1D6D-4189-87BE-6622B2302941}" dt="2026-05-12T09:38:23.597" v="1732" actId="404"/>
          <ac:spMkLst>
            <pc:docMk/>
            <pc:sldMk cId="2086456195" sldId="710"/>
            <ac:spMk id="2" creationId="{BFBA7D8A-637F-8C7E-EBBC-E74DE0E078BF}"/>
          </ac:spMkLst>
        </pc:spChg>
        <pc:spChg chg="mod">
          <ac:chgData name="Rossi, Flavia" userId="8dc1e8dd-c791-47bd-880d-50f89b3b999c" providerId="ADAL" clId="{94B328AF-1D6D-4189-87BE-6622B2302941}" dt="2026-05-08T12:02:58.508" v="539" actId="14100"/>
          <ac:spMkLst>
            <pc:docMk/>
            <pc:sldMk cId="2086456195" sldId="710"/>
            <ac:spMk id="3" creationId="{3B4A3F59-8E5A-3614-B72C-99980FE62204}"/>
          </ac:spMkLst>
        </pc:spChg>
        <pc:spChg chg="add mod">
          <ac:chgData name="Rossi, Flavia" userId="8dc1e8dd-c791-47bd-880d-50f89b3b999c" providerId="ADAL" clId="{94B328AF-1D6D-4189-87BE-6622B2302941}" dt="2026-05-08T12:26:34.055" v="641" actId="20577"/>
          <ac:spMkLst>
            <pc:docMk/>
            <pc:sldMk cId="2086456195" sldId="710"/>
            <ac:spMk id="5" creationId="{2BF4F4EE-F885-D741-F680-9CD58E78F543}"/>
          </ac:spMkLst>
        </pc:spChg>
        <pc:spChg chg="add mod">
          <ac:chgData name="Rossi, Flavia" userId="8dc1e8dd-c791-47bd-880d-50f89b3b999c" providerId="ADAL" clId="{94B328AF-1D6D-4189-87BE-6622B2302941}" dt="2026-05-12T09:47:48.340" v="1981" actId="20577"/>
          <ac:spMkLst>
            <pc:docMk/>
            <pc:sldMk cId="2086456195" sldId="710"/>
            <ac:spMk id="8" creationId="{2069115E-18C4-430B-41AD-3901BDFA1D2D}"/>
          </ac:spMkLst>
        </pc:spChg>
        <pc:spChg chg="del">
          <ac:chgData name="Rossi, Flavia" userId="8dc1e8dd-c791-47bd-880d-50f89b3b999c" providerId="ADAL" clId="{94B328AF-1D6D-4189-87BE-6622B2302941}" dt="2026-05-12T09:46:58.037" v="1949" actId="478"/>
          <ac:spMkLst>
            <pc:docMk/>
            <pc:sldMk cId="2086456195" sldId="710"/>
            <ac:spMk id="21" creationId="{57EC8CA0-5454-B055-0CB4-9ECA626F59A5}"/>
          </ac:spMkLst>
        </pc:spChg>
        <pc:graphicFrameChg chg="mod">
          <ac:chgData name="Rossi, Flavia" userId="8dc1e8dd-c791-47bd-880d-50f89b3b999c" providerId="ADAL" clId="{94B328AF-1D6D-4189-87BE-6622B2302941}" dt="2026-05-08T17:56:15.242" v="711"/>
          <ac:graphicFrameMkLst>
            <pc:docMk/>
            <pc:sldMk cId="2086456195" sldId="710"/>
            <ac:graphicFrameMk id="7" creationId="{E18F7684-2C1D-0F0B-A8C9-AAE6673FEF44}"/>
          </ac:graphicFrameMkLst>
        </pc:graphicFrameChg>
      </pc:sldChg>
      <pc:sldChg chg="addSp delSp modSp mod">
        <pc:chgData name="Rossi, Flavia" userId="8dc1e8dd-c791-47bd-880d-50f89b3b999c" providerId="ADAL" clId="{94B328AF-1D6D-4189-87BE-6622B2302941}" dt="2026-05-12T09:47:43.135" v="1966" actId="20577"/>
        <pc:sldMkLst>
          <pc:docMk/>
          <pc:sldMk cId="89833404" sldId="711"/>
        </pc:sldMkLst>
        <pc:spChg chg="mod">
          <ac:chgData name="Rossi, Flavia" userId="8dc1e8dd-c791-47bd-880d-50f89b3b999c" providerId="ADAL" clId="{94B328AF-1D6D-4189-87BE-6622B2302941}" dt="2026-05-08T12:03:21.762" v="544" actId="255"/>
          <ac:spMkLst>
            <pc:docMk/>
            <pc:sldMk cId="89833404" sldId="711"/>
            <ac:spMk id="3" creationId="{1E1EBD76-52DE-1D2E-7F48-C3A1B34058A9}"/>
          </ac:spMkLst>
        </pc:spChg>
        <pc:spChg chg="add mod">
          <ac:chgData name="Rossi, Flavia" userId="8dc1e8dd-c791-47bd-880d-50f89b3b999c" providerId="ADAL" clId="{94B328AF-1D6D-4189-87BE-6622B2302941}" dt="2026-05-12T09:47:27.395" v="1951"/>
          <ac:spMkLst>
            <pc:docMk/>
            <pc:sldMk cId="89833404" sldId="711"/>
            <ac:spMk id="5" creationId="{BAE7336E-7BD5-1FBC-C7A8-63087133D6D7}"/>
          </ac:spMkLst>
        </pc:spChg>
        <pc:spChg chg="add mod">
          <ac:chgData name="Rossi, Flavia" userId="8dc1e8dd-c791-47bd-880d-50f89b3b999c" providerId="ADAL" clId="{94B328AF-1D6D-4189-87BE-6622B2302941}" dt="2026-05-12T09:47:43.135" v="1966" actId="20577"/>
          <ac:spMkLst>
            <pc:docMk/>
            <pc:sldMk cId="89833404" sldId="711"/>
            <ac:spMk id="8" creationId="{AB2D80C2-BFAE-B9EC-078F-EDF9749209BE}"/>
          </ac:spMkLst>
        </pc:spChg>
        <pc:spChg chg="del">
          <ac:chgData name="Rossi, Flavia" userId="8dc1e8dd-c791-47bd-880d-50f89b3b999c" providerId="ADAL" clId="{94B328AF-1D6D-4189-87BE-6622B2302941}" dt="2026-05-12T09:47:00.989" v="1950" actId="478"/>
          <ac:spMkLst>
            <pc:docMk/>
            <pc:sldMk cId="89833404" sldId="711"/>
            <ac:spMk id="22" creationId="{557453EF-3D98-EF36-B439-02D5FA0331CC}"/>
          </ac:spMkLst>
        </pc:spChg>
        <pc:graphicFrameChg chg="mod">
          <ac:chgData name="Rossi, Flavia" userId="8dc1e8dd-c791-47bd-880d-50f89b3b999c" providerId="ADAL" clId="{94B328AF-1D6D-4189-87BE-6622B2302941}" dt="2026-05-08T17:56:29.947" v="712"/>
          <ac:graphicFrameMkLst>
            <pc:docMk/>
            <pc:sldMk cId="89833404" sldId="711"/>
            <ac:graphicFrameMk id="7" creationId="{EB9D0C3A-8E2D-28CA-B7AC-249255302363}"/>
          </ac:graphicFrameMkLst>
        </pc:graphicFrameChg>
      </pc:sldChg>
      <pc:sldChg chg="addSp delSp modSp mod">
        <pc:chgData name="Rossi, Flavia" userId="8dc1e8dd-c791-47bd-880d-50f89b3b999c" providerId="ADAL" clId="{94B328AF-1D6D-4189-87BE-6622B2302941}" dt="2026-05-12T09:31:59.430" v="1679" actId="1035"/>
        <pc:sldMkLst>
          <pc:docMk/>
          <pc:sldMk cId="3505980646" sldId="716"/>
        </pc:sldMkLst>
        <pc:spChg chg="mod">
          <ac:chgData name="Rossi, Flavia" userId="8dc1e8dd-c791-47bd-880d-50f89b3b999c" providerId="ADAL" clId="{94B328AF-1D6D-4189-87BE-6622B2302941}" dt="2026-05-12T09:31:51.803" v="1670" actId="1035"/>
          <ac:spMkLst>
            <pc:docMk/>
            <pc:sldMk cId="3505980646" sldId="716"/>
            <ac:spMk id="8" creationId="{38C28CAA-C3B4-A055-6550-094DDE73CB41}"/>
          </ac:spMkLst>
        </pc:spChg>
        <pc:spChg chg="add del mod">
          <ac:chgData name="Rossi, Flavia" userId="8dc1e8dd-c791-47bd-880d-50f89b3b999c" providerId="ADAL" clId="{94B328AF-1D6D-4189-87BE-6622B2302941}" dt="2026-05-12T09:02:03.528" v="1274" actId="478"/>
          <ac:spMkLst>
            <pc:docMk/>
            <pc:sldMk cId="3505980646" sldId="716"/>
            <ac:spMk id="9" creationId="{0FE5E529-7DD1-82BF-A933-F64D5FE47502}"/>
          </ac:spMkLst>
        </pc:spChg>
        <pc:spChg chg="mod">
          <ac:chgData name="Rossi, Flavia" userId="8dc1e8dd-c791-47bd-880d-50f89b3b999c" providerId="ADAL" clId="{94B328AF-1D6D-4189-87BE-6622B2302941}" dt="2026-05-12T09:31:51.803" v="1670" actId="1035"/>
          <ac:spMkLst>
            <pc:docMk/>
            <pc:sldMk cId="3505980646" sldId="716"/>
            <ac:spMk id="10" creationId="{611CD3D0-9F14-1A48-7468-E6ACBF4B0EED}"/>
          </ac:spMkLst>
        </pc:spChg>
        <pc:spChg chg="add mod">
          <ac:chgData name="Rossi, Flavia" userId="8dc1e8dd-c791-47bd-880d-50f89b3b999c" providerId="ADAL" clId="{94B328AF-1D6D-4189-87BE-6622B2302941}" dt="2026-05-12T09:31:59.430" v="1679" actId="1035"/>
          <ac:spMkLst>
            <pc:docMk/>
            <pc:sldMk cId="3505980646" sldId="716"/>
            <ac:spMk id="14" creationId="{842E0BEF-7A72-67D0-F7E9-41D6E3B37DBD}"/>
          </ac:spMkLst>
        </pc:spChg>
        <pc:spChg chg="add mod">
          <ac:chgData name="Rossi, Flavia" userId="8dc1e8dd-c791-47bd-880d-50f89b3b999c" providerId="ADAL" clId="{94B328AF-1D6D-4189-87BE-6622B2302941}" dt="2026-05-12T09:31:59.430" v="1679" actId="1035"/>
          <ac:spMkLst>
            <pc:docMk/>
            <pc:sldMk cId="3505980646" sldId="716"/>
            <ac:spMk id="15" creationId="{54495BA8-6A70-E601-F6E2-EEF1CEF2BF37}"/>
          </ac:spMkLst>
        </pc:spChg>
        <pc:spChg chg="add mod">
          <ac:chgData name="Rossi, Flavia" userId="8dc1e8dd-c791-47bd-880d-50f89b3b999c" providerId="ADAL" clId="{94B328AF-1D6D-4189-87BE-6622B2302941}" dt="2026-05-12T09:31:59.430" v="1679" actId="1035"/>
          <ac:spMkLst>
            <pc:docMk/>
            <pc:sldMk cId="3505980646" sldId="716"/>
            <ac:spMk id="16" creationId="{BA4F4DE9-0725-1C69-AA62-E8ED7CFDF95E}"/>
          </ac:spMkLst>
        </pc:spChg>
        <pc:spChg chg="add del">
          <ac:chgData name="Rossi, Flavia" userId="8dc1e8dd-c791-47bd-880d-50f89b3b999c" providerId="ADAL" clId="{94B328AF-1D6D-4189-87BE-6622B2302941}" dt="2026-05-12T08:55:44.961" v="1245" actId="478"/>
          <ac:spMkLst>
            <pc:docMk/>
            <pc:sldMk cId="3505980646" sldId="716"/>
            <ac:spMk id="17" creationId="{44F3020C-3D33-84ED-EF99-62EF4E614415}"/>
          </ac:spMkLst>
        </pc:spChg>
        <pc:spChg chg="add mod">
          <ac:chgData name="Rossi, Flavia" userId="8dc1e8dd-c791-47bd-880d-50f89b3b999c" providerId="ADAL" clId="{94B328AF-1D6D-4189-87BE-6622B2302941}" dt="2026-05-12T09:31:59.430" v="1679" actId="1035"/>
          <ac:spMkLst>
            <pc:docMk/>
            <pc:sldMk cId="3505980646" sldId="716"/>
            <ac:spMk id="18" creationId="{CEBCA251-E22C-EF76-1609-924EE021B6A4}"/>
          </ac:spMkLst>
        </pc:spChg>
        <pc:spChg chg="add mod">
          <ac:chgData name="Rossi, Flavia" userId="8dc1e8dd-c791-47bd-880d-50f89b3b999c" providerId="ADAL" clId="{94B328AF-1D6D-4189-87BE-6622B2302941}" dt="2026-05-12T09:31:59.430" v="1679" actId="1035"/>
          <ac:spMkLst>
            <pc:docMk/>
            <pc:sldMk cId="3505980646" sldId="716"/>
            <ac:spMk id="19" creationId="{82FB2525-07DB-7C6C-DACA-51744606DC6F}"/>
          </ac:spMkLst>
        </pc:spChg>
        <pc:spChg chg="add mod">
          <ac:chgData name="Rossi, Flavia" userId="8dc1e8dd-c791-47bd-880d-50f89b3b999c" providerId="ADAL" clId="{94B328AF-1D6D-4189-87BE-6622B2302941}" dt="2026-05-12T09:31:59.430" v="1679" actId="1035"/>
          <ac:spMkLst>
            <pc:docMk/>
            <pc:sldMk cId="3505980646" sldId="716"/>
            <ac:spMk id="20" creationId="{6D6703A2-6FE3-E224-CFAE-8BA1D640A5EE}"/>
          </ac:spMkLst>
        </pc:spChg>
        <pc:spChg chg="add mod">
          <ac:chgData name="Rossi, Flavia" userId="8dc1e8dd-c791-47bd-880d-50f89b3b999c" providerId="ADAL" clId="{94B328AF-1D6D-4189-87BE-6622B2302941}" dt="2026-05-12T09:31:59.430" v="1679" actId="1035"/>
          <ac:spMkLst>
            <pc:docMk/>
            <pc:sldMk cId="3505980646" sldId="716"/>
            <ac:spMk id="21" creationId="{4107921B-1811-B05F-DEA3-34CA6101D00A}"/>
          </ac:spMkLst>
        </pc:spChg>
        <pc:spChg chg="add mod">
          <ac:chgData name="Rossi, Flavia" userId="8dc1e8dd-c791-47bd-880d-50f89b3b999c" providerId="ADAL" clId="{94B328AF-1D6D-4189-87BE-6622B2302941}" dt="2026-05-12T09:31:59.430" v="1679" actId="1035"/>
          <ac:spMkLst>
            <pc:docMk/>
            <pc:sldMk cId="3505980646" sldId="716"/>
            <ac:spMk id="22" creationId="{7D13D572-B72C-AE88-6EB5-AB5A3DD4C1AA}"/>
          </ac:spMkLst>
        </pc:spChg>
        <pc:spChg chg="add mod">
          <ac:chgData name="Rossi, Flavia" userId="8dc1e8dd-c791-47bd-880d-50f89b3b999c" providerId="ADAL" clId="{94B328AF-1D6D-4189-87BE-6622B2302941}" dt="2026-05-12T09:31:59.430" v="1679" actId="1035"/>
          <ac:spMkLst>
            <pc:docMk/>
            <pc:sldMk cId="3505980646" sldId="716"/>
            <ac:spMk id="23" creationId="{C4E4C832-6CCD-3BDC-D40F-37D9B13A68A3}"/>
          </ac:spMkLst>
        </pc:spChg>
        <pc:spChg chg="add mod">
          <ac:chgData name="Rossi, Flavia" userId="8dc1e8dd-c791-47bd-880d-50f89b3b999c" providerId="ADAL" clId="{94B328AF-1D6D-4189-87BE-6622B2302941}" dt="2026-05-12T09:31:59.430" v="1679" actId="1035"/>
          <ac:spMkLst>
            <pc:docMk/>
            <pc:sldMk cId="3505980646" sldId="716"/>
            <ac:spMk id="24" creationId="{EA6291C8-9DBC-855A-DB76-DA11A36CE6C0}"/>
          </ac:spMkLst>
        </pc:spChg>
        <pc:spChg chg="mod">
          <ac:chgData name="Rossi, Flavia" userId="8dc1e8dd-c791-47bd-880d-50f89b3b999c" providerId="ADAL" clId="{94B328AF-1D6D-4189-87BE-6622B2302941}" dt="2026-05-12T09:31:51.803" v="1670" actId="1035"/>
          <ac:spMkLst>
            <pc:docMk/>
            <pc:sldMk cId="3505980646" sldId="716"/>
            <ac:spMk id="67" creationId="{82D38194-B219-1F37-3E1E-485236A7C8D2}"/>
          </ac:spMkLst>
        </pc:spChg>
        <pc:spChg chg="mod">
          <ac:chgData name="Rossi, Flavia" userId="8dc1e8dd-c791-47bd-880d-50f89b3b999c" providerId="ADAL" clId="{94B328AF-1D6D-4189-87BE-6622B2302941}" dt="2026-05-12T09:31:51.803" v="1670" actId="1035"/>
          <ac:spMkLst>
            <pc:docMk/>
            <pc:sldMk cId="3505980646" sldId="716"/>
            <ac:spMk id="68" creationId="{6D2F3342-4CB6-8C01-0177-4DD4E6688B21}"/>
          </ac:spMkLst>
        </pc:spChg>
        <pc:spChg chg="mod">
          <ac:chgData name="Rossi, Flavia" userId="8dc1e8dd-c791-47bd-880d-50f89b3b999c" providerId="ADAL" clId="{94B328AF-1D6D-4189-87BE-6622B2302941}" dt="2026-05-12T09:31:51.803" v="1670" actId="1035"/>
          <ac:spMkLst>
            <pc:docMk/>
            <pc:sldMk cId="3505980646" sldId="716"/>
            <ac:spMk id="69" creationId="{16573C55-96E9-E99D-1F47-17DD4B597163}"/>
          </ac:spMkLst>
        </pc:spChg>
        <pc:spChg chg="mod">
          <ac:chgData name="Rossi, Flavia" userId="8dc1e8dd-c791-47bd-880d-50f89b3b999c" providerId="ADAL" clId="{94B328AF-1D6D-4189-87BE-6622B2302941}" dt="2026-05-12T09:31:51.803" v="1670" actId="1035"/>
          <ac:spMkLst>
            <pc:docMk/>
            <pc:sldMk cId="3505980646" sldId="716"/>
            <ac:spMk id="70" creationId="{49E5DEA2-C34C-01F1-3E08-B21D882E2816}"/>
          </ac:spMkLst>
        </pc:spChg>
        <pc:spChg chg="mod">
          <ac:chgData name="Rossi, Flavia" userId="8dc1e8dd-c791-47bd-880d-50f89b3b999c" providerId="ADAL" clId="{94B328AF-1D6D-4189-87BE-6622B2302941}" dt="2026-05-12T09:31:51.803" v="1670" actId="1035"/>
          <ac:spMkLst>
            <pc:docMk/>
            <pc:sldMk cId="3505980646" sldId="716"/>
            <ac:spMk id="71" creationId="{316DF6A8-61F0-5C6B-F166-8967DD0F44C6}"/>
          </ac:spMkLst>
        </pc:spChg>
        <pc:spChg chg="add del mod">
          <ac:chgData name="Rossi, Flavia" userId="8dc1e8dd-c791-47bd-880d-50f89b3b999c" providerId="ADAL" clId="{94B328AF-1D6D-4189-87BE-6622B2302941}" dt="2026-05-12T09:31:51.803" v="1670" actId="1035"/>
          <ac:spMkLst>
            <pc:docMk/>
            <pc:sldMk cId="3505980646" sldId="716"/>
            <ac:spMk id="72" creationId="{B5C83257-FB79-0B1C-4F3B-7297AD6A8FB7}"/>
          </ac:spMkLst>
        </pc:spChg>
        <pc:grpChg chg="mod">
          <ac:chgData name="Rossi, Flavia" userId="8dc1e8dd-c791-47bd-880d-50f89b3b999c" providerId="ADAL" clId="{94B328AF-1D6D-4189-87BE-6622B2302941}" dt="2026-05-12T09:31:28.961" v="1656" actId="1035"/>
          <ac:grpSpMkLst>
            <pc:docMk/>
            <pc:sldMk cId="3505980646" sldId="716"/>
            <ac:grpSpMk id="46" creationId="{BAF9A3CE-BA71-082C-8F29-23431903B0B6}"/>
          </ac:grpSpMkLst>
        </pc:grpChg>
        <pc:grpChg chg="mod">
          <ac:chgData name="Rossi, Flavia" userId="8dc1e8dd-c791-47bd-880d-50f89b3b999c" providerId="ADAL" clId="{94B328AF-1D6D-4189-87BE-6622B2302941}" dt="2026-05-12T09:31:51.803" v="1670" actId="1035"/>
          <ac:grpSpMkLst>
            <pc:docMk/>
            <pc:sldMk cId="3505980646" sldId="716"/>
            <ac:grpSpMk id="53" creationId="{FBA61E5C-8E0E-57F6-E3AC-AF60C0C45AFA}"/>
          </ac:grpSpMkLst>
        </pc:grpChg>
        <pc:grpChg chg="mod">
          <ac:chgData name="Rossi, Flavia" userId="8dc1e8dd-c791-47bd-880d-50f89b3b999c" providerId="ADAL" clId="{94B328AF-1D6D-4189-87BE-6622B2302941}" dt="2026-05-12T09:31:51.803" v="1670" actId="1035"/>
          <ac:grpSpMkLst>
            <pc:docMk/>
            <pc:sldMk cId="3505980646" sldId="716"/>
            <ac:grpSpMk id="60" creationId="{4CC1B30C-A216-D29E-B22F-1054EEC05943}"/>
          </ac:grpSpMkLst>
        </pc:grpChg>
        <pc:graphicFrameChg chg="add del modGraphic">
          <ac:chgData name="Rossi, Flavia" userId="8dc1e8dd-c791-47bd-880d-50f89b3b999c" providerId="ADAL" clId="{94B328AF-1D6D-4189-87BE-6622B2302941}" dt="2026-05-12T09:00:24.669" v="1270" actId="478"/>
          <ac:graphicFrameMkLst>
            <pc:docMk/>
            <pc:sldMk cId="3505980646" sldId="716"/>
            <ac:graphicFrameMk id="2" creationId="{86DF6718-A7FC-9D37-8602-F5A26521FA78}"/>
          </ac:graphicFrameMkLst>
        </pc:graphicFrameChg>
        <pc:picChg chg="add del mod">
          <ac:chgData name="Rossi, Flavia" userId="8dc1e8dd-c791-47bd-880d-50f89b3b999c" providerId="ADAL" clId="{94B328AF-1D6D-4189-87BE-6622B2302941}" dt="2026-05-12T09:02:03.528" v="1274" actId="478"/>
          <ac:picMkLst>
            <pc:docMk/>
            <pc:sldMk cId="3505980646" sldId="716"/>
            <ac:picMk id="7" creationId="{0D27F452-AE24-099A-E137-971DC695C380}"/>
          </ac:picMkLst>
        </pc:picChg>
        <pc:picChg chg="add del mod">
          <ac:chgData name="Rossi, Flavia" userId="8dc1e8dd-c791-47bd-880d-50f89b3b999c" providerId="ADAL" clId="{94B328AF-1D6D-4189-87BE-6622B2302941}" dt="2026-05-12T09:26:00.954" v="1487" actId="22"/>
          <ac:picMkLst>
            <pc:docMk/>
            <pc:sldMk cId="3505980646" sldId="716"/>
            <ac:picMk id="12" creationId="{C4663476-BAE2-8E18-6A5C-6BEFC2453D30}"/>
          </ac:picMkLst>
        </pc:picChg>
      </pc:sldChg>
      <pc:sldChg chg="addSp modSp del mod">
        <pc:chgData name="Rossi, Flavia" userId="8dc1e8dd-c791-47bd-880d-50f89b3b999c" providerId="ADAL" clId="{94B328AF-1D6D-4189-87BE-6622B2302941}" dt="2026-05-12T12:27:38.183" v="3240" actId="47"/>
        <pc:sldMkLst>
          <pc:docMk/>
          <pc:sldMk cId="615184241" sldId="718"/>
        </pc:sldMkLst>
        <pc:spChg chg="mod">
          <ac:chgData name="Rossi, Flavia" userId="8dc1e8dd-c791-47bd-880d-50f89b3b999c" providerId="ADAL" clId="{94B328AF-1D6D-4189-87BE-6622B2302941}" dt="2026-05-12T10:59:47.536" v="2612"/>
          <ac:spMkLst>
            <pc:docMk/>
            <pc:sldMk cId="615184241" sldId="718"/>
            <ac:spMk id="14" creationId="{46D264F4-6EDF-886F-C529-FFDA3F2C1506}"/>
          </ac:spMkLst>
        </pc:spChg>
        <pc:spChg chg="mod">
          <ac:chgData name="Rossi, Flavia" userId="8dc1e8dd-c791-47bd-880d-50f89b3b999c" providerId="ADAL" clId="{94B328AF-1D6D-4189-87BE-6622B2302941}" dt="2026-05-12T11:00:03.136" v="2671" actId="20577"/>
          <ac:spMkLst>
            <pc:docMk/>
            <pc:sldMk cId="615184241" sldId="718"/>
            <ac:spMk id="17" creationId="{1CF928C6-4B62-6D11-BD5D-879078D92FDF}"/>
          </ac:spMkLst>
        </pc:spChg>
        <pc:spChg chg="mod">
          <ac:chgData name="Rossi, Flavia" userId="8dc1e8dd-c791-47bd-880d-50f89b3b999c" providerId="ADAL" clId="{94B328AF-1D6D-4189-87BE-6622B2302941}" dt="2026-05-12T12:17:16.473" v="2878" actId="20577"/>
          <ac:spMkLst>
            <pc:docMk/>
            <pc:sldMk cId="615184241" sldId="718"/>
            <ac:spMk id="23" creationId="{F66B9767-9D2E-B2C7-055C-19E614193B5A}"/>
          </ac:spMkLst>
        </pc:spChg>
        <pc:spChg chg="mod">
          <ac:chgData name="Rossi, Flavia" userId="8dc1e8dd-c791-47bd-880d-50f89b3b999c" providerId="ADAL" clId="{94B328AF-1D6D-4189-87BE-6622B2302941}" dt="2026-05-12T10:59:27.959" v="2611" actId="20577"/>
          <ac:spMkLst>
            <pc:docMk/>
            <pc:sldMk cId="615184241" sldId="718"/>
            <ac:spMk id="24" creationId="{7E557621-4198-C2CD-7D52-07FECC47DC2D}"/>
          </ac:spMkLst>
        </pc:spChg>
        <pc:grpChg chg="add mod">
          <ac:chgData name="Rossi, Flavia" userId="8dc1e8dd-c791-47bd-880d-50f89b3b999c" providerId="ADAL" clId="{94B328AF-1D6D-4189-87BE-6622B2302941}" dt="2026-05-12T10:59:50.456" v="2613" actId="1076"/>
          <ac:grpSpMkLst>
            <pc:docMk/>
            <pc:sldMk cId="615184241" sldId="718"/>
            <ac:grpSpMk id="8" creationId="{9792CA3A-CC34-420F-53D5-3B82EA2225C6}"/>
          </ac:grpSpMkLst>
        </pc:grpChg>
        <pc:graphicFrameChg chg="mod">
          <ac:chgData name="Rossi, Flavia" userId="8dc1e8dd-c791-47bd-880d-50f89b3b999c" providerId="ADAL" clId="{94B328AF-1D6D-4189-87BE-6622B2302941}" dt="2026-05-12T10:52:42.252" v="2483" actId="20577"/>
          <ac:graphicFrameMkLst>
            <pc:docMk/>
            <pc:sldMk cId="615184241" sldId="718"/>
            <ac:graphicFrameMk id="22" creationId="{F2C75B17-D1DA-F137-8C99-C6D393EEDD39}"/>
          </ac:graphicFrameMkLst>
        </pc:graphicFrameChg>
      </pc:sldChg>
      <pc:sldChg chg="modSp mod">
        <pc:chgData name="Rossi, Flavia" userId="8dc1e8dd-c791-47bd-880d-50f89b3b999c" providerId="ADAL" clId="{94B328AF-1D6D-4189-87BE-6622B2302941}" dt="2026-05-12T13:09:58.167" v="3853" actId="20577"/>
        <pc:sldMkLst>
          <pc:docMk/>
          <pc:sldMk cId="2494490271" sldId="722"/>
        </pc:sldMkLst>
        <pc:spChg chg="mod">
          <ac:chgData name="Rossi, Flavia" userId="8dc1e8dd-c791-47bd-880d-50f89b3b999c" providerId="ADAL" clId="{94B328AF-1D6D-4189-87BE-6622B2302941}" dt="2026-05-12T13:09:58.167" v="3853" actId="20577"/>
          <ac:spMkLst>
            <pc:docMk/>
            <pc:sldMk cId="2494490271" sldId="722"/>
            <ac:spMk id="8" creationId="{816CBEB5-A2BF-79DE-8C49-864536B7EFFE}"/>
          </ac:spMkLst>
        </pc:spChg>
      </pc:sldChg>
      <pc:sldChg chg="modSp mod">
        <pc:chgData name="Rossi, Flavia" userId="8dc1e8dd-c791-47bd-880d-50f89b3b999c" providerId="ADAL" clId="{94B328AF-1D6D-4189-87BE-6622B2302941}" dt="2026-05-12T15:20:08.305" v="3898" actId="20577"/>
        <pc:sldMkLst>
          <pc:docMk/>
          <pc:sldMk cId="2218762329" sldId="730"/>
        </pc:sldMkLst>
        <pc:spChg chg="mod">
          <ac:chgData name="Rossi, Flavia" userId="8dc1e8dd-c791-47bd-880d-50f89b3b999c" providerId="ADAL" clId="{94B328AF-1D6D-4189-87BE-6622B2302941}" dt="2026-05-12T12:29:35.590" v="3403" actId="20577"/>
          <ac:spMkLst>
            <pc:docMk/>
            <pc:sldMk cId="2218762329" sldId="730"/>
            <ac:spMk id="13" creationId="{89409E4C-F5D9-6AFD-9038-61203EE00FA1}"/>
          </ac:spMkLst>
        </pc:spChg>
        <pc:spChg chg="mod">
          <ac:chgData name="Rossi, Flavia" userId="8dc1e8dd-c791-47bd-880d-50f89b3b999c" providerId="ADAL" clId="{94B328AF-1D6D-4189-87BE-6622B2302941}" dt="2026-05-12T15:20:08.305" v="3898" actId="20577"/>
          <ac:spMkLst>
            <pc:docMk/>
            <pc:sldMk cId="2218762329" sldId="730"/>
            <ac:spMk id="16" creationId="{189F8B5F-5CA1-C2D4-8B2E-828B4E065BBA}"/>
          </ac:spMkLst>
        </pc:spChg>
        <pc:spChg chg="mod">
          <ac:chgData name="Rossi, Flavia" userId="8dc1e8dd-c791-47bd-880d-50f89b3b999c" providerId="ADAL" clId="{94B328AF-1D6D-4189-87BE-6622B2302941}" dt="2026-05-12T12:34:56.736" v="3434" actId="14100"/>
          <ac:spMkLst>
            <pc:docMk/>
            <pc:sldMk cId="2218762329" sldId="730"/>
            <ac:spMk id="23" creationId="{9D894D35-DB26-795E-A63C-A31AA6B264B6}"/>
          </ac:spMkLst>
        </pc:spChg>
        <pc:graphicFrameChg chg="mod">
          <ac:chgData name="Rossi, Flavia" userId="8dc1e8dd-c791-47bd-880d-50f89b3b999c" providerId="ADAL" clId="{94B328AF-1D6D-4189-87BE-6622B2302941}" dt="2026-05-12T12:28:41.946" v="3314" actId="20577"/>
          <ac:graphicFrameMkLst>
            <pc:docMk/>
            <pc:sldMk cId="2218762329" sldId="730"/>
            <ac:graphicFrameMk id="22" creationId="{942517FE-87EF-6D43-097D-2118AFBCBB1F}"/>
          </ac:graphicFrameMkLst>
        </pc:graphicFrameChg>
      </pc:sldChg>
      <pc:sldChg chg="addSp delSp modSp new del mod">
        <pc:chgData name="Rossi, Flavia" userId="8dc1e8dd-c791-47bd-880d-50f89b3b999c" providerId="ADAL" clId="{94B328AF-1D6D-4189-87BE-6622B2302941}" dt="2026-05-12T09:31:43.087" v="1659" actId="47"/>
        <pc:sldMkLst>
          <pc:docMk/>
          <pc:sldMk cId="3850898896" sldId="730"/>
        </pc:sldMkLst>
        <pc:spChg chg="del mod topLvl">
          <ac:chgData name="Rossi, Flavia" userId="8dc1e8dd-c791-47bd-880d-50f89b3b999c" providerId="ADAL" clId="{94B328AF-1D6D-4189-87BE-6622B2302941}" dt="2026-05-12T09:27:11.389" v="1489" actId="478"/>
          <ac:spMkLst>
            <pc:docMk/>
            <pc:sldMk cId="3850898896" sldId="730"/>
            <ac:spMk id="6" creationId="{A0513A87-C8BD-53F3-CE87-AC86DAD51858}"/>
          </ac:spMkLst>
        </pc:spChg>
        <pc:spChg chg="del mod topLvl">
          <ac:chgData name="Rossi, Flavia" userId="8dc1e8dd-c791-47bd-880d-50f89b3b999c" providerId="ADAL" clId="{94B328AF-1D6D-4189-87BE-6622B2302941}" dt="2026-05-12T09:27:11.389" v="1489" actId="478"/>
          <ac:spMkLst>
            <pc:docMk/>
            <pc:sldMk cId="3850898896" sldId="730"/>
            <ac:spMk id="7" creationId="{38F27535-7739-D43E-B8C1-9BAE987CE8A3}"/>
          </ac:spMkLst>
        </pc:spChg>
        <pc:spChg chg="del mod topLvl">
          <ac:chgData name="Rossi, Flavia" userId="8dc1e8dd-c791-47bd-880d-50f89b3b999c" providerId="ADAL" clId="{94B328AF-1D6D-4189-87BE-6622B2302941}" dt="2026-05-12T09:27:11.389" v="1489" actId="478"/>
          <ac:spMkLst>
            <pc:docMk/>
            <pc:sldMk cId="3850898896" sldId="730"/>
            <ac:spMk id="8" creationId="{9EEB5768-86A0-4A01-E88B-91CC936F38C8}"/>
          </ac:spMkLst>
        </pc:spChg>
        <pc:spChg chg="del mod topLvl">
          <ac:chgData name="Rossi, Flavia" userId="8dc1e8dd-c791-47bd-880d-50f89b3b999c" providerId="ADAL" clId="{94B328AF-1D6D-4189-87BE-6622B2302941}" dt="2026-05-12T09:27:11.389" v="1489" actId="478"/>
          <ac:spMkLst>
            <pc:docMk/>
            <pc:sldMk cId="3850898896" sldId="730"/>
            <ac:spMk id="9" creationId="{B38DA4C5-8109-6264-1D28-82E8B0A6D715}"/>
          </ac:spMkLst>
        </pc:spChg>
        <pc:spChg chg="del mod topLvl">
          <ac:chgData name="Rossi, Flavia" userId="8dc1e8dd-c791-47bd-880d-50f89b3b999c" providerId="ADAL" clId="{94B328AF-1D6D-4189-87BE-6622B2302941}" dt="2026-05-12T09:27:11.389" v="1489" actId="478"/>
          <ac:spMkLst>
            <pc:docMk/>
            <pc:sldMk cId="3850898896" sldId="730"/>
            <ac:spMk id="10" creationId="{31208D24-249E-A9FD-4A50-BEBD65A6E01C}"/>
          </ac:spMkLst>
        </pc:spChg>
        <pc:spChg chg="del mod">
          <ac:chgData name="Rossi, Flavia" userId="8dc1e8dd-c791-47bd-880d-50f89b3b999c" providerId="ADAL" clId="{94B328AF-1D6D-4189-87BE-6622B2302941}" dt="2026-05-12T09:24:25.934" v="1396" actId="478"/>
          <ac:spMkLst>
            <pc:docMk/>
            <pc:sldMk cId="3850898896" sldId="730"/>
            <ac:spMk id="11" creationId="{E201DFE6-FCBB-47AC-3301-6643846C1F2B}"/>
          </ac:spMkLst>
        </pc:spChg>
        <pc:spChg chg="del mod topLvl">
          <ac:chgData name="Rossi, Flavia" userId="8dc1e8dd-c791-47bd-880d-50f89b3b999c" providerId="ADAL" clId="{94B328AF-1D6D-4189-87BE-6622B2302941}" dt="2026-05-12T09:27:11.389" v="1489" actId="478"/>
          <ac:spMkLst>
            <pc:docMk/>
            <pc:sldMk cId="3850898896" sldId="730"/>
            <ac:spMk id="12" creationId="{F34DD244-9469-6AC4-9A25-4AD06B6EC873}"/>
          </ac:spMkLst>
        </pc:spChg>
        <pc:spChg chg="del mod topLvl">
          <ac:chgData name="Rossi, Flavia" userId="8dc1e8dd-c791-47bd-880d-50f89b3b999c" providerId="ADAL" clId="{94B328AF-1D6D-4189-87BE-6622B2302941}" dt="2026-05-12T09:27:11.389" v="1489" actId="478"/>
          <ac:spMkLst>
            <pc:docMk/>
            <pc:sldMk cId="3850898896" sldId="730"/>
            <ac:spMk id="13" creationId="{5B7B84B0-63D1-D234-D66B-AC3A838C0DFC}"/>
          </ac:spMkLst>
        </pc:spChg>
        <pc:spChg chg="del mod topLvl">
          <ac:chgData name="Rossi, Flavia" userId="8dc1e8dd-c791-47bd-880d-50f89b3b999c" providerId="ADAL" clId="{94B328AF-1D6D-4189-87BE-6622B2302941}" dt="2026-05-12T09:27:11.389" v="1489" actId="478"/>
          <ac:spMkLst>
            <pc:docMk/>
            <pc:sldMk cId="3850898896" sldId="730"/>
            <ac:spMk id="14" creationId="{DA5286FF-C952-2E56-E321-B88800C76B8D}"/>
          </ac:spMkLst>
        </pc:spChg>
        <pc:spChg chg="del mod topLvl">
          <ac:chgData name="Rossi, Flavia" userId="8dc1e8dd-c791-47bd-880d-50f89b3b999c" providerId="ADAL" clId="{94B328AF-1D6D-4189-87BE-6622B2302941}" dt="2026-05-12T09:27:11.389" v="1489" actId="478"/>
          <ac:spMkLst>
            <pc:docMk/>
            <pc:sldMk cId="3850898896" sldId="730"/>
            <ac:spMk id="15" creationId="{560AB69B-4C43-AD11-3178-9827348A2759}"/>
          </ac:spMkLst>
        </pc:spChg>
        <pc:spChg chg="del mod topLvl">
          <ac:chgData name="Rossi, Flavia" userId="8dc1e8dd-c791-47bd-880d-50f89b3b999c" providerId="ADAL" clId="{94B328AF-1D6D-4189-87BE-6622B2302941}" dt="2026-05-12T09:27:11.389" v="1489" actId="478"/>
          <ac:spMkLst>
            <pc:docMk/>
            <pc:sldMk cId="3850898896" sldId="730"/>
            <ac:spMk id="16" creationId="{E9A2D918-8ADB-B87F-F08D-C1D9F1A3A4EC}"/>
          </ac:spMkLst>
        </pc:spChg>
        <pc:spChg chg="del mod">
          <ac:chgData name="Rossi, Flavia" userId="8dc1e8dd-c791-47bd-880d-50f89b3b999c" providerId="ADAL" clId="{94B328AF-1D6D-4189-87BE-6622B2302941}" dt="2026-05-12T09:24:28.550" v="1397" actId="478"/>
          <ac:spMkLst>
            <pc:docMk/>
            <pc:sldMk cId="3850898896" sldId="730"/>
            <ac:spMk id="17" creationId="{91C9FDAC-C403-B1B5-70FC-CB251E16E4D8}"/>
          </ac:spMkLst>
        </pc:spChg>
        <pc:spChg chg="mod">
          <ac:chgData name="Rossi, Flavia" userId="8dc1e8dd-c791-47bd-880d-50f89b3b999c" providerId="ADAL" clId="{94B328AF-1D6D-4189-87BE-6622B2302941}" dt="2026-05-12T09:27:12.381" v="1490"/>
          <ac:spMkLst>
            <pc:docMk/>
            <pc:sldMk cId="3850898896" sldId="730"/>
            <ac:spMk id="19" creationId="{C665DF8F-2378-08DB-39E8-864FEAAD62E6}"/>
          </ac:spMkLst>
        </pc:spChg>
        <pc:spChg chg="mod">
          <ac:chgData name="Rossi, Flavia" userId="8dc1e8dd-c791-47bd-880d-50f89b3b999c" providerId="ADAL" clId="{94B328AF-1D6D-4189-87BE-6622B2302941}" dt="2026-05-12T09:27:12.381" v="1490"/>
          <ac:spMkLst>
            <pc:docMk/>
            <pc:sldMk cId="3850898896" sldId="730"/>
            <ac:spMk id="20" creationId="{64F6D21E-3574-E7D5-FE77-FF7E17BEB03B}"/>
          </ac:spMkLst>
        </pc:spChg>
        <pc:spChg chg="mod">
          <ac:chgData name="Rossi, Flavia" userId="8dc1e8dd-c791-47bd-880d-50f89b3b999c" providerId="ADAL" clId="{94B328AF-1D6D-4189-87BE-6622B2302941}" dt="2026-05-12T09:27:12.381" v="1490"/>
          <ac:spMkLst>
            <pc:docMk/>
            <pc:sldMk cId="3850898896" sldId="730"/>
            <ac:spMk id="22" creationId="{6B2A9EE2-5E57-BB23-87F6-7CF13479DC6E}"/>
          </ac:spMkLst>
        </pc:spChg>
        <pc:spChg chg="mod">
          <ac:chgData name="Rossi, Flavia" userId="8dc1e8dd-c791-47bd-880d-50f89b3b999c" providerId="ADAL" clId="{94B328AF-1D6D-4189-87BE-6622B2302941}" dt="2026-05-12T09:27:12.381" v="1490"/>
          <ac:spMkLst>
            <pc:docMk/>
            <pc:sldMk cId="3850898896" sldId="730"/>
            <ac:spMk id="23" creationId="{F4777801-48B9-372E-D0DE-FA1CE9F7999A}"/>
          </ac:spMkLst>
        </pc:spChg>
        <pc:spChg chg="mod">
          <ac:chgData name="Rossi, Flavia" userId="8dc1e8dd-c791-47bd-880d-50f89b3b999c" providerId="ADAL" clId="{94B328AF-1D6D-4189-87BE-6622B2302941}" dt="2026-05-12T09:27:12.381" v="1490"/>
          <ac:spMkLst>
            <pc:docMk/>
            <pc:sldMk cId="3850898896" sldId="730"/>
            <ac:spMk id="25" creationId="{72123775-DC01-45EB-CA40-46208DF42D57}"/>
          </ac:spMkLst>
        </pc:spChg>
        <pc:spChg chg="mod">
          <ac:chgData name="Rossi, Flavia" userId="8dc1e8dd-c791-47bd-880d-50f89b3b999c" providerId="ADAL" clId="{94B328AF-1D6D-4189-87BE-6622B2302941}" dt="2026-05-12T09:27:12.381" v="1490"/>
          <ac:spMkLst>
            <pc:docMk/>
            <pc:sldMk cId="3850898896" sldId="730"/>
            <ac:spMk id="26" creationId="{7AAF2117-53F3-910B-0E8F-3D1C306A90CD}"/>
          </ac:spMkLst>
        </pc:spChg>
        <pc:spChg chg="mod">
          <ac:chgData name="Rossi, Flavia" userId="8dc1e8dd-c791-47bd-880d-50f89b3b999c" providerId="ADAL" clId="{94B328AF-1D6D-4189-87BE-6622B2302941}" dt="2026-05-12T09:27:12.381" v="1490"/>
          <ac:spMkLst>
            <pc:docMk/>
            <pc:sldMk cId="3850898896" sldId="730"/>
            <ac:spMk id="28" creationId="{849DE0E3-A235-5356-9D18-834326847B21}"/>
          </ac:spMkLst>
        </pc:spChg>
        <pc:spChg chg="mod">
          <ac:chgData name="Rossi, Flavia" userId="8dc1e8dd-c791-47bd-880d-50f89b3b999c" providerId="ADAL" clId="{94B328AF-1D6D-4189-87BE-6622B2302941}" dt="2026-05-12T09:27:12.381" v="1490"/>
          <ac:spMkLst>
            <pc:docMk/>
            <pc:sldMk cId="3850898896" sldId="730"/>
            <ac:spMk id="29" creationId="{4C7CA760-8B6D-02C2-2D02-0A61CC134D72}"/>
          </ac:spMkLst>
        </pc:spChg>
        <pc:spChg chg="mod">
          <ac:chgData name="Rossi, Flavia" userId="8dc1e8dd-c791-47bd-880d-50f89b3b999c" providerId="ADAL" clId="{94B328AF-1D6D-4189-87BE-6622B2302941}" dt="2026-05-12T09:27:12.381" v="1490"/>
          <ac:spMkLst>
            <pc:docMk/>
            <pc:sldMk cId="3850898896" sldId="730"/>
            <ac:spMk id="31" creationId="{6F265EAC-DB3F-1D77-CC74-B8914E63654C}"/>
          </ac:spMkLst>
        </pc:spChg>
        <pc:spChg chg="mod">
          <ac:chgData name="Rossi, Flavia" userId="8dc1e8dd-c791-47bd-880d-50f89b3b999c" providerId="ADAL" clId="{94B328AF-1D6D-4189-87BE-6622B2302941}" dt="2026-05-12T09:27:12.381" v="1490"/>
          <ac:spMkLst>
            <pc:docMk/>
            <pc:sldMk cId="3850898896" sldId="730"/>
            <ac:spMk id="32" creationId="{AA934401-A85A-60B6-1CD6-724C28A48894}"/>
          </ac:spMkLst>
        </pc:spChg>
        <pc:spChg chg="mod topLvl">
          <ac:chgData name="Rossi, Flavia" userId="8dc1e8dd-c791-47bd-880d-50f89b3b999c" providerId="ADAL" clId="{94B328AF-1D6D-4189-87BE-6622B2302941}" dt="2026-05-12T09:29:29.454" v="1610"/>
          <ac:spMkLst>
            <pc:docMk/>
            <pc:sldMk cId="3850898896" sldId="730"/>
            <ac:spMk id="34" creationId="{944C1305-55E9-0475-7B04-31CEE236E8CA}"/>
          </ac:spMkLst>
        </pc:spChg>
        <pc:spChg chg="mod topLvl">
          <ac:chgData name="Rossi, Flavia" userId="8dc1e8dd-c791-47bd-880d-50f89b3b999c" providerId="ADAL" clId="{94B328AF-1D6D-4189-87BE-6622B2302941}" dt="2026-05-12T09:30:33.069" v="1633" actId="1036"/>
          <ac:spMkLst>
            <pc:docMk/>
            <pc:sldMk cId="3850898896" sldId="730"/>
            <ac:spMk id="35" creationId="{9F4FAF34-AF8E-76BA-C205-AA8B2BE80D70}"/>
          </ac:spMkLst>
        </pc:spChg>
        <pc:spChg chg="mod topLvl">
          <ac:chgData name="Rossi, Flavia" userId="8dc1e8dd-c791-47bd-880d-50f89b3b999c" providerId="ADAL" clId="{94B328AF-1D6D-4189-87BE-6622B2302941}" dt="2026-05-12T09:29:40.099" v="1612"/>
          <ac:spMkLst>
            <pc:docMk/>
            <pc:sldMk cId="3850898896" sldId="730"/>
            <ac:spMk id="37" creationId="{4E1B857C-FD2E-6A7E-782A-A23D0B9A85F4}"/>
          </ac:spMkLst>
        </pc:spChg>
        <pc:spChg chg="mod topLvl">
          <ac:chgData name="Rossi, Flavia" userId="8dc1e8dd-c791-47bd-880d-50f89b3b999c" providerId="ADAL" clId="{94B328AF-1D6D-4189-87BE-6622B2302941}" dt="2026-05-12T09:30:33.069" v="1633" actId="1036"/>
          <ac:spMkLst>
            <pc:docMk/>
            <pc:sldMk cId="3850898896" sldId="730"/>
            <ac:spMk id="38" creationId="{CB4699EF-2B32-938F-7A0F-D3FB21AA46BB}"/>
          </ac:spMkLst>
        </pc:spChg>
        <pc:spChg chg="mod topLvl">
          <ac:chgData name="Rossi, Flavia" userId="8dc1e8dd-c791-47bd-880d-50f89b3b999c" providerId="ADAL" clId="{94B328AF-1D6D-4189-87BE-6622B2302941}" dt="2026-05-12T09:29:56.869" v="1614"/>
          <ac:spMkLst>
            <pc:docMk/>
            <pc:sldMk cId="3850898896" sldId="730"/>
            <ac:spMk id="40" creationId="{24975176-87BC-C662-572C-5A3B24353AB3}"/>
          </ac:spMkLst>
        </pc:spChg>
        <pc:spChg chg="mod topLvl">
          <ac:chgData name="Rossi, Flavia" userId="8dc1e8dd-c791-47bd-880d-50f89b3b999c" providerId="ADAL" clId="{94B328AF-1D6D-4189-87BE-6622B2302941}" dt="2026-05-12T09:30:33.069" v="1633" actId="1036"/>
          <ac:spMkLst>
            <pc:docMk/>
            <pc:sldMk cId="3850898896" sldId="730"/>
            <ac:spMk id="41" creationId="{5535E8A5-F892-AFDE-F924-C2A36CACBB43}"/>
          </ac:spMkLst>
        </pc:spChg>
        <pc:spChg chg="mod topLvl">
          <ac:chgData name="Rossi, Flavia" userId="8dc1e8dd-c791-47bd-880d-50f89b3b999c" providerId="ADAL" clId="{94B328AF-1D6D-4189-87BE-6622B2302941}" dt="2026-05-12T09:30:05.888" v="1616"/>
          <ac:spMkLst>
            <pc:docMk/>
            <pc:sldMk cId="3850898896" sldId="730"/>
            <ac:spMk id="43" creationId="{C69AFBBB-188B-D2F7-629D-F7443EE88CA7}"/>
          </ac:spMkLst>
        </pc:spChg>
        <pc:spChg chg="mod topLvl">
          <ac:chgData name="Rossi, Flavia" userId="8dc1e8dd-c791-47bd-880d-50f89b3b999c" providerId="ADAL" clId="{94B328AF-1D6D-4189-87BE-6622B2302941}" dt="2026-05-12T09:30:33.069" v="1633" actId="1036"/>
          <ac:spMkLst>
            <pc:docMk/>
            <pc:sldMk cId="3850898896" sldId="730"/>
            <ac:spMk id="44" creationId="{2B0F5C0D-0907-0052-64C2-A2732CCE3759}"/>
          </ac:spMkLst>
        </pc:spChg>
        <pc:spChg chg="mod topLvl">
          <ac:chgData name="Rossi, Flavia" userId="8dc1e8dd-c791-47bd-880d-50f89b3b999c" providerId="ADAL" clId="{94B328AF-1D6D-4189-87BE-6622B2302941}" dt="2026-05-12T09:30:22.271" v="1619" actId="114"/>
          <ac:spMkLst>
            <pc:docMk/>
            <pc:sldMk cId="3850898896" sldId="730"/>
            <ac:spMk id="46" creationId="{17F97131-7D95-D0F4-AF0A-A8586FB7B702}"/>
          </ac:spMkLst>
        </pc:spChg>
        <pc:spChg chg="mod topLvl">
          <ac:chgData name="Rossi, Flavia" userId="8dc1e8dd-c791-47bd-880d-50f89b3b999c" providerId="ADAL" clId="{94B328AF-1D6D-4189-87BE-6622B2302941}" dt="2026-05-12T09:30:33.069" v="1633" actId="1036"/>
          <ac:spMkLst>
            <pc:docMk/>
            <pc:sldMk cId="3850898896" sldId="730"/>
            <ac:spMk id="47" creationId="{B9F30314-0139-7478-0F08-6B5E11B13ABC}"/>
          </ac:spMkLst>
        </pc:spChg>
        <pc:spChg chg="add mod ord">
          <ac:chgData name="Rossi, Flavia" userId="8dc1e8dd-c791-47bd-880d-50f89b3b999c" providerId="ADAL" clId="{94B328AF-1D6D-4189-87BE-6622B2302941}" dt="2026-05-12T09:31:13.879" v="1639" actId="1582"/>
          <ac:spMkLst>
            <pc:docMk/>
            <pc:sldMk cId="3850898896" sldId="730"/>
            <ac:spMk id="48" creationId="{098F706B-AE51-B285-A9AF-A5FC1AC5FB26}"/>
          </ac:spMkLst>
        </pc:spChg>
        <pc:grpChg chg="mod">
          <ac:chgData name="Rossi, Flavia" userId="8dc1e8dd-c791-47bd-880d-50f89b3b999c" providerId="ADAL" clId="{94B328AF-1D6D-4189-87BE-6622B2302941}" dt="2026-05-12T09:28:58.065" v="1606" actId="14100"/>
          <ac:grpSpMkLst>
            <pc:docMk/>
            <pc:sldMk cId="3850898896" sldId="730"/>
            <ac:grpSpMk id="33" creationId="{3A02196B-3EB4-89C3-8303-B9BAE61C327E}"/>
          </ac:grpSpMkLst>
        </pc:grpChg>
        <pc:grpChg chg="mod">
          <ac:chgData name="Rossi, Flavia" userId="8dc1e8dd-c791-47bd-880d-50f89b3b999c" providerId="ADAL" clId="{94B328AF-1D6D-4189-87BE-6622B2302941}" dt="2026-05-12T09:28:58.065" v="1606" actId="14100"/>
          <ac:grpSpMkLst>
            <pc:docMk/>
            <pc:sldMk cId="3850898896" sldId="730"/>
            <ac:grpSpMk id="36" creationId="{EA122030-4222-1FD7-513E-5994A7E3A229}"/>
          </ac:grpSpMkLst>
        </pc:grpChg>
        <pc:grpChg chg="mod">
          <ac:chgData name="Rossi, Flavia" userId="8dc1e8dd-c791-47bd-880d-50f89b3b999c" providerId="ADAL" clId="{94B328AF-1D6D-4189-87BE-6622B2302941}" dt="2026-05-12T09:28:58.065" v="1606" actId="14100"/>
          <ac:grpSpMkLst>
            <pc:docMk/>
            <pc:sldMk cId="3850898896" sldId="730"/>
            <ac:grpSpMk id="39" creationId="{40F735F4-6CBA-A38A-8E51-99ED9E359C69}"/>
          </ac:grpSpMkLst>
        </pc:grpChg>
        <pc:grpChg chg="mod">
          <ac:chgData name="Rossi, Flavia" userId="8dc1e8dd-c791-47bd-880d-50f89b3b999c" providerId="ADAL" clId="{94B328AF-1D6D-4189-87BE-6622B2302941}" dt="2026-05-12T09:28:58.065" v="1606" actId="14100"/>
          <ac:grpSpMkLst>
            <pc:docMk/>
            <pc:sldMk cId="3850898896" sldId="730"/>
            <ac:grpSpMk id="42" creationId="{0EEC1380-CDE2-8075-458F-5CADD86E2409}"/>
          </ac:grpSpMkLst>
        </pc:grpChg>
        <pc:grpChg chg="mod">
          <ac:chgData name="Rossi, Flavia" userId="8dc1e8dd-c791-47bd-880d-50f89b3b999c" providerId="ADAL" clId="{94B328AF-1D6D-4189-87BE-6622B2302941}" dt="2026-05-12T09:28:58.065" v="1606" actId="14100"/>
          <ac:grpSpMkLst>
            <pc:docMk/>
            <pc:sldMk cId="3850898896" sldId="730"/>
            <ac:grpSpMk id="45" creationId="{0A4709DA-15E8-BA10-9906-A560B1F6D23F}"/>
          </ac:grpSpMkLst>
        </pc:grpChg>
        <pc:cxnChg chg="mod">
          <ac:chgData name="Rossi, Flavia" userId="8dc1e8dd-c791-47bd-880d-50f89b3b999c" providerId="ADAL" clId="{94B328AF-1D6D-4189-87BE-6622B2302941}" dt="2026-05-12T09:24:53.478" v="1415" actId="14100"/>
          <ac:cxnSpMkLst>
            <pc:docMk/>
            <pc:sldMk cId="3850898896" sldId="730"/>
            <ac:cxnSpMk id="5" creationId="{64D7593D-42FD-7FA0-3538-0CBFBF9358A8}"/>
          </ac:cxnSpMkLst>
        </pc:cxnChg>
      </pc:sldChg>
      <pc:sldChg chg="addSp delSp modSp add mod">
        <pc:chgData name="Rossi, Flavia" userId="8dc1e8dd-c791-47bd-880d-50f89b3b999c" providerId="ADAL" clId="{94B328AF-1D6D-4189-87BE-6622B2302941}" dt="2026-05-12T12:28:04.479" v="3279" actId="1038"/>
        <pc:sldMkLst>
          <pc:docMk/>
          <pc:sldMk cId="4062120242" sldId="731"/>
        </pc:sldMkLst>
        <pc:spChg chg="mod">
          <ac:chgData name="Rossi, Flavia" userId="8dc1e8dd-c791-47bd-880d-50f89b3b999c" providerId="ADAL" clId="{94B328AF-1D6D-4189-87BE-6622B2302941}" dt="2026-05-12T12:27:10.826" v="3203" actId="1076"/>
          <ac:spMkLst>
            <pc:docMk/>
            <pc:sldMk cId="4062120242" sldId="731"/>
            <ac:spMk id="2" creationId="{8A1F76A8-1B90-5C9B-7BA1-8DD258C33A11}"/>
          </ac:spMkLst>
        </pc:spChg>
        <pc:spChg chg="mod">
          <ac:chgData name="Rossi, Flavia" userId="8dc1e8dd-c791-47bd-880d-50f89b3b999c" providerId="ADAL" clId="{94B328AF-1D6D-4189-87BE-6622B2302941}" dt="2026-05-12T12:19:37.494" v="3014" actId="1076"/>
          <ac:spMkLst>
            <pc:docMk/>
            <pc:sldMk cId="4062120242" sldId="731"/>
            <ac:spMk id="3" creationId="{237CA78F-9CA6-269E-ABC4-B96F4749847D}"/>
          </ac:spMkLst>
        </pc:spChg>
        <pc:spChg chg="mod">
          <ac:chgData name="Rossi, Flavia" userId="8dc1e8dd-c791-47bd-880d-50f89b3b999c" providerId="ADAL" clId="{94B328AF-1D6D-4189-87BE-6622B2302941}" dt="2026-05-12T12:28:04.479" v="3279" actId="1038"/>
          <ac:spMkLst>
            <pc:docMk/>
            <pc:sldMk cId="4062120242" sldId="731"/>
            <ac:spMk id="6" creationId="{BCBB6475-68A2-5C5F-A9C7-B7C4D8B78CFD}"/>
          </ac:spMkLst>
        </pc:spChg>
        <pc:spChg chg="add mod">
          <ac:chgData name="Rossi, Flavia" userId="8dc1e8dd-c791-47bd-880d-50f89b3b999c" providerId="ADAL" clId="{94B328AF-1D6D-4189-87BE-6622B2302941}" dt="2026-05-12T12:27:55.612" v="3257" actId="1038"/>
          <ac:spMkLst>
            <pc:docMk/>
            <pc:sldMk cId="4062120242" sldId="731"/>
            <ac:spMk id="7" creationId="{1E41E2DF-575F-7BD2-6948-7F823B762F3A}"/>
          </ac:spMkLst>
        </pc:spChg>
        <pc:spChg chg="mod">
          <ac:chgData name="Rossi, Flavia" userId="8dc1e8dd-c791-47bd-880d-50f89b3b999c" providerId="ADAL" clId="{94B328AF-1D6D-4189-87BE-6622B2302941}" dt="2026-05-12T12:18:08.870" v="2884"/>
          <ac:spMkLst>
            <pc:docMk/>
            <pc:sldMk cId="4062120242" sldId="731"/>
            <ac:spMk id="16" creationId="{D4D2BBEB-65A4-B280-7B10-FED3665A6180}"/>
          </ac:spMkLst>
        </pc:spChg>
        <pc:spChg chg="mod">
          <ac:chgData name="Rossi, Flavia" userId="8dc1e8dd-c791-47bd-880d-50f89b3b999c" providerId="ADAL" clId="{94B328AF-1D6D-4189-87BE-6622B2302941}" dt="2026-05-12T12:19:20.733" v="3008" actId="20577"/>
          <ac:spMkLst>
            <pc:docMk/>
            <pc:sldMk cId="4062120242" sldId="731"/>
            <ac:spMk id="19" creationId="{9FAE8257-2E95-A10C-9FD2-4E5ED482D32E}"/>
          </ac:spMkLst>
        </pc:spChg>
        <pc:spChg chg="mod">
          <ac:chgData name="Rossi, Flavia" userId="8dc1e8dd-c791-47bd-880d-50f89b3b999c" providerId="ADAL" clId="{94B328AF-1D6D-4189-87BE-6622B2302941}" dt="2026-05-12T12:18:08.870" v="2884"/>
          <ac:spMkLst>
            <pc:docMk/>
            <pc:sldMk cId="4062120242" sldId="731"/>
            <ac:spMk id="21" creationId="{51135ABA-6A73-280C-9404-ABEA5D841667}"/>
          </ac:spMkLst>
        </pc:spChg>
        <pc:spChg chg="del">
          <ac:chgData name="Rossi, Flavia" userId="8dc1e8dd-c791-47bd-880d-50f89b3b999c" providerId="ADAL" clId="{94B328AF-1D6D-4189-87BE-6622B2302941}" dt="2026-05-12T12:18:01.285" v="2880" actId="478"/>
          <ac:spMkLst>
            <pc:docMk/>
            <pc:sldMk cId="4062120242" sldId="731"/>
            <ac:spMk id="23" creationId="{5A2D58C0-B946-6075-0689-9D232D38DA2B}"/>
          </ac:spMkLst>
        </pc:spChg>
        <pc:spChg chg="mod">
          <ac:chgData name="Rossi, Flavia" userId="8dc1e8dd-c791-47bd-880d-50f89b3b999c" providerId="ADAL" clId="{94B328AF-1D6D-4189-87BE-6622B2302941}" dt="2026-05-12T12:18:08.870" v="2884"/>
          <ac:spMkLst>
            <pc:docMk/>
            <pc:sldMk cId="4062120242" sldId="731"/>
            <ac:spMk id="30" creationId="{EFE3A4FC-3B0D-41F4-CE3A-F3F874E4CFC4}"/>
          </ac:spMkLst>
        </pc:spChg>
        <pc:spChg chg="mod">
          <ac:chgData name="Rossi, Flavia" userId="8dc1e8dd-c791-47bd-880d-50f89b3b999c" providerId="ADAL" clId="{94B328AF-1D6D-4189-87BE-6622B2302941}" dt="2026-05-12T12:19:24.665" v="3010" actId="20577"/>
          <ac:spMkLst>
            <pc:docMk/>
            <pc:sldMk cId="4062120242" sldId="731"/>
            <ac:spMk id="31" creationId="{F9DA89F2-192F-12BB-B77E-0A64984E78EE}"/>
          </ac:spMkLst>
        </pc:spChg>
        <pc:spChg chg="mod">
          <ac:chgData name="Rossi, Flavia" userId="8dc1e8dd-c791-47bd-880d-50f89b3b999c" providerId="ADAL" clId="{94B328AF-1D6D-4189-87BE-6622B2302941}" dt="2026-05-12T12:18:08.870" v="2884"/>
          <ac:spMkLst>
            <pc:docMk/>
            <pc:sldMk cId="4062120242" sldId="731"/>
            <ac:spMk id="33" creationId="{DF3466EE-A14F-5578-6C04-C06A13B7F834}"/>
          </ac:spMkLst>
        </pc:spChg>
        <pc:spChg chg="mod">
          <ac:chgData name="Rossi, Flavia" userId="8dc1e8dd-c791-47bd-880d-50f89b3b999c" providerId="ADAL" clId="{94B328AF-1D6D-4189-87BE-6622B2302941}" dt="2026-05-12T12:18:08.870" v="2884"/>
          <ac:spMkLst>
            <pc:docMk/>
            <pc:sldMk cId="4062120242" sldId="731"/>
            <ac:spMk id="34" creationId="{53042C70-F44C-324F-5A01-9CBF5AB941BA}"/>
          </ac:spMkLst>
        </pc:spChg>
        <pc:spChg chg="mod">
          <ac:chgData name="Rossi, Flavia" userId="8dc1e8dd-c791-47bd-880d-50f89b3b999c" providerId="ADAL" clId="{94B328AF-1D6D-4189-87BE-6622B2302941}" dt="2026-05-12T12:18:08.870" v="2884"/>
          <ac:spMkLst>
            <pc:docMk/>
            <pc:sldMk cId="4062120242" sldId="731"/>
            <ac:spMk id="35" creationId="{E58D48FC-ACE1-C9AB-9585-E2F6F88CF7BA}"/>
          </ac:spMkLst>
        </pc:spChg>
        <pc:spChg chg="mod">
          <ac:chgData name="Rossi, Flavia" userId="8dc1e8dd-c791-47bd-880d-50f89b3b999c" providerId="ADAL" clId="{94B328AF-1D6D-4189-87BE-6622B2302941}" dt="2026-05-12T12:18:08.870" v="2884"/>
          <ac:spMkLst>
            <pc:docMk/>
            <pc:sldMk cId="4062120242" sldId="731"/>
            <ac:spMk id="38" creationId="{F6E3D0A1-E7A6-4E40-4514-1B14F401ABB0}"/>
          </ac:spMkLst>
        </pc:spChg>
        <pc:spChg chg="mod">
          <ac:chgData name="Rossi, Flavia" userId="8dc1e8dd-c791-47bd-880d-50f89b3b999c" providerId="ADAL" clId="{94B328AF-1D6D-4189-87BE-6622B2302941}" dt="2026-05-12T12:19:28.918" v="3012" actId="20577"/>
          <ac:spMkLst>
            <pc:docMk/>
            <pc:sldMk cId="4062120242" sldId="731"/>
            <ac:spMk id="43" creationId="{DE1A0349-B5CB-1E55-4256-AA11A2AAF549}"/>
          </ac:spMkLst>
        </pc:spChg>
        <pc:spChg chg="mod">
          <ac:chgData name="Rossi, Flavia" userId="8dc1e8dd-c791-47bd-880d-50f89b3b999c" providerId="ADAL" clId="{94B328AF-1D6D-4189-87BE-6622B2302941}" dt="2026-05-12T12:28:04.479" v="3279" actId="1038"/>
          <ac:spMkLst>
            <pc:docMk/>
            <pc:sldMk cId="4062120242" sldId="731"/>
            <ac:spMk id="44" creationId="{FE3D4EC0-FE84-D0AA-BFAC-034A3D051813}"/>
          </ac:spMkLst>
        </pc:spChg>
        <pc:spChg chg="mod">
          <ac:chgData name="Rossi, Flavia" userId="8dc1e8dd-c791-47bd-880d-50f89b3b999c" providerId="ADAL" clId="{94B328AF-1D6D-4189-87BE-6622B2302941}" dt="2026-05-12T12:26:53.177" v="3200" actId="1036"/>
          <ac:spMkLst>
            <pc:docMk/>
            <pc:sldMk cId="4062120242" sldId="731"/>
            <ac:spMk id="45" creationId="{143EB714-35F7-019F-04E0-5220AA64738C}"/>
          </ac:spMkLst>
        </pc:spChg>
        <pc:spChg chg="add mod">
          <ac:chgData name="Rossi, Flavia" userId="8dc1e8dd-c791-47bd-880d-50f89b3b999c" providerId="ADAL" clId="{94B328AF-1D6D-4189-87BE-6622B2302941}" dt="2026-05-12T12:27:31.982" v="3239" actId="14100"/>
          <ac:spMkLst>
            <pc:docMk/>
            <pc:sldMk cId="4062120242" sldId="731"/>
            <ac:spMk id="46" creationId="{EA3BD348-24E4-99F0-FB17-748CB0B2F837}"/>
          </ac:spMkLst>
        </pc:spChg>
        <pc:spChg chg="mod">
          <ac:chgData name="Rossi, Flavia" userId="8dc1e8dd-c791-47bd-880d-50f89b3b999c" providerId="ADAL" clId="{94B328AF-1D6D-4189-87BE-6622B2302941}" dt="2026-05-12T12:20:12.418" v="3018"/>
          <ac:spMkLst>
            <pc:docMk/>
            <pc:sldMk cId="4062120242" sldId="731"/>
            <ac:spMk id="48" creationId="{F8EB59AC-A306-ABD0-F3CA-37B87E6105DD}"/>
          </ac:spMkLst>
        </pc:spChg>
        <pc:spChg chg="mod">
          <ac:chgData name="Rossi, Flavia" userId="8dc1e8dd-c791-47bd-880d-50f89b3b999c" providerId="ADAL" clId="{94B328AF-1D6D-4189-87BE-6622B2302941}" dt="2026-05-12T12:20:12.418" v="3018"/>
          <ac:spMkLst>
            <pc:docMk/>
            <pc:sldMk cId="4062120242" sldId="731"/>
            <ac:spMk id="49" creationId="{D6157BDF-87C9-DBA3-E905-7FAE878D2428}"/>
          </ac:spMkLst>
        </pc:spChg>
        <pc:spChg chg="mod">
          <ac:chgData name="Rossi, Flavia" userId="8dc1e8dd-c791-47bd-880d-50f89b3b999c" providerId="ADAL" clId="{94B328AF-1D6D-4189-87BE-6622B2302941}" dt="2026-05-12T12:20:12.418" v="3018"/>
          <ac:spMkLst>
            <pc:docMk/>
            <pc:sldMk cId="4062120242" sldId="731"/>
            <ac:spMk id="50" creationId="{489B8BF4-B97A-83B7-828C-4C23A18A4331}"/>
          </ac:spMkLst>
        </pc:spChg>
        <pc:spChg chg="mod">
          <ac:chgData name="Rossi, Flavia" userId="8dc1e8dd-c791-47bd-880d-50f89b3b999c" providerId="ADAL" clId="{94B328AF-1D6D-4189-87BE-6622B2302941}" dt="2026-05-12T12:20:12.418" v="3018"/>
          <ac:spMkLst>
            <pc:docMk/>
            <pc:sldMk cId="4062120242" sldId="731"/>
            <ac:spMk id="52" creationId="{332155AD-278C-F772-E720-781B505DE759}"/>
          </ac:spMkLst>
        </pc:spChg>
        <pc:spChg chg="mod">
          <ac:chgData name="Rossi, Flavia" userId="8dc1e8dd-c791-47bd-880d-50f89b3b999c" providerId="ADAL" clId="{94B328AF-1D6D-4189-87BE-6622B2302941}" dt="2026-05-12T12:20:12.418" v="3018"/>
          <ac:spMkLst>
            <pc:docMk/>
            <pc:sldMk cId="4062120242" sldId="731"/>
            <ac:spMk id="53" creationId="{75D7BC3D-4EB1-B935-ECC6-5FB70538EEA7}"/>
          </ac:spMkLst>
        </pc:spChg>
        <pc:spChg chg="mod">
          <ac:chgData name="Rossi, Flavia" userId="8dc1e8dd-c791-47bd-880d-50f89b3b999c" providerId="ADAL" clId="{94B328AF-1D6D-4189-87BE-6622B2302941}" dt="2026-05-12T12:20:12.418" v="3018"/>
          <ac:spMkLst>
            <pc:docMk/>
            <pc:sldMk cId="4062120242" sldId="731"/>
            <ac:spMk id="54" creationId="{90A5D9AE-8A3F-4070-6758-C2B773E56059}"/>
          </ac:spMkLst>
        </pc:spChg>
        <pc:spChg chg="mod">
          <ac:chgData name="Rossi, Flavia" userId="8dc1e8dd-c791-47bd-880d-50f89b3b999c" providerId="ADAL" clId="{94B328AF-1D6D-4189-87BE-6622B2302941}" dt="2026-05-12T12:20:12.418" v="3018"/>
          <ac:spMkLst>
            <pc:docMk/>
            <pc:sldMk cId="4062120242" sldId="731"/>
            <ac:spMk id="56" creationId="{266F0280-C57C-B98B-9C4D-C243E652484D}"/>
          </ac:spMkLst>
        </pc:spChg>
        <pc:spChg chg="mod">
          <ac:chgData name="Rossi, Flavia" userId="8dc1e8dd-c791-47bd-880d-50f89b3b999c" providerId="ADAL" clId="{94B328AF-1D6D-4189-87BE-6622B2302941}" dt="2026-05-12T12:20:12.418" v="3018"/>
          <ac:spMkLst>
            <pc:docMk/>
            <pc:sldMk cId="4062120242" sldId="731"/>
            <ac:spMk id="57" creationId="{AFE9E996-2A39-CE01-7C3C-39F60D8C16D9}"/>
          </ac:spMkLst>
        </pc:spChg>
        <pc:spChg chg="mod">
          <ac:chgData name="Rossi, Flavia" userId="8dc1e8dd-c791-47bd-880d-50f89b3b999c" providerId="ADAL" clId="{94B328AF-1D6D-4189-87BE-6622B2302941}" dt="2026-05-12T12:20:12.418" v="3018"/>
          <ac:spMkLst>
            <pc:docMk/>
            <pc:sldMk cId="4062120242" sldId="731"/>
            <ac:spMk id="58" creationId="{75CFA5A1-AD33-8CC5-7FFF-CC880F64431E}"/>
          </ac:spMkLst>
        </pc:spChg>
        <pc:spChg chg="add mod">
          <ac:chgData name="Rossi, Flavia" userId="8dc1e8dd-c791-47bd-880d-50f89b3b999c" providerId="ADAL" clId="{94B328AF-1D6D-4189-87BE-6622B2302941}" dt="2026-05-12T12:21:21.804" v="3052" actId="207"/>
          <ac:spMkLst>
            <pc:docMk/>
            <pc:sldMk cId="4062120242" sldId="731"/>
            <ac:spMk id="59" creationId="{654BC38E-BF4A-DEBF-1518-FF33300FDF19}"/>
          </ac:spMkLst>
        </pc:spChg>
        <pc:spChg chg="add mod">
          <ac:chgData name="Rossi, Flavia" userId="8dc1e8dd-c791-47bd-880d-50f89b3b999c" providerId="ADAL" clId="{94B328AF-1D6D-4189-87BE-6622B2302941}" dt="2026-05-12T12:21:41.483" v="3057" actId="207"/>
          <ac:spMkLst>
            <pc:docMk/>
            <pc:sldMk cId="4062120242" sldId="731"/>
            <ac:spMk id="60" creationId="{00997088-F94F-41B9-EA4F-8CDAEA275D46}"/>
          </ac:spMkLst>
        </pc:spChg>
        <pc:spChg chg="add mod">
          <ac:chgData name="Rossi, Flavia" userId="8dc1e8dd-c791-47bd-880d-50f89b3b999c" providerId="ADAL" clId="{94B328AF-1D6D-4189-87BE-6622B2302941}" dt="2026-05-12T12:21:52.152" v="3061" actId="207"/>
          <ac:spMkLst>
            <pc:docMk/>
            <pc:sldMk cId="4062120242" sldId="731"/>
            <ac:spMk id="61" creationId="{61F57223-2799-C501-4ABD-D198BBB35FE4}"/>
          </ac:spMkLst>
        </pc:spChg>
        <pc:spChg chg="mod">
          <ac:chgData name="Rossi, Flavia" userId="8dc1e8dd-c791-47bd-880d-50f89b3b999c" providerId="ADAL" clId="{94B328AF-1D6D-4189-87BE-6622B2302941}" dt="2026-05-12T12:22:30.193" v="3091"/>
          <ac:spMkLst>
            <pc:docMk/>
            <pc:sldMk cId="4062120242" sldId="731"/>
            <ac:spMk id="63" creationId="{222DF2E4-98EE-E736-076F-D5BE6BB69667}"/>
          </ac:spMkLst>
        </pc:spChg>
        <pc:spChg chg="mod">
          <ac:chgData name="Rossi, Flavia" userId="8dc1e8dd-c791-47bd-880d-50f89b3b999c" providerId="ADAL" clId="{94B328AF-1D6D-4189-87BE-6622B2302941}" dt="2026-05-12T12:22:30.193" v="3091"/>
          <ac:spMkLst>
            <pc:docMk/>
            <pc:sldMk cId="4062120242" sldId="731"/>
            <ac:spMk id="64" creationId="{7E043300-FEAE-4A3D-C84A-B08C72A04D49}"/>
          </ac:spMkLst>
        </pc:spChg>
        <pc:spChg chg="mod">
          <ac:chgData name="Rossi, Flavia" userId="8dc1e8dd-c791-47bd-880d-50f89b3b999c" providerId="ADAL" clId="{94B328AF-1D6D-4189-87BE-6622B2302941}" dt="2026-05-12T12:22:30.193" v="3091"/>
          <ac:spMkLst>
            <pc:docMk/>
            <pc:sldMk cId="4062120242" sldId="731"/>
            <ac:spMk id="65" creationId="{2ADB2FE5-DB11-AAAB-526D-9A2CC6B1D915}"/>
          </ac:spMkLst>
        </pc:spChg>
        <pc:spChg chg="mod">
          <ac:chgData name="Rossi, Flavia" userId="8dc1e8dd-c791-47bd-880d-50f89b3b999c" providerId="ADAL" clId="{94B328AF-1D6D-4189-87BE-6622B2302941}" dt="2026-05-12T12:22:30.193" v="3091"/>
          <ac:spMkLst>
            <pc:docMk/>
            <pc:sldMk cId="4062120242" sldId="731"/>
            <ac:spMk id="67" creationId="{6DDC8354-90C6-DAA1-3D11-AC3BB5B28610}"/>
          </ac:spMkLst>
        </pc:spChg>
        <pc:spChg chg="mod">
          <ac:chgData name="Rossi, Flavia" userId="8dc1e8dd-c791-47bd-880d-50f89b3b999c" providerId="ADAL" clId="{94B328AF-1D6D-4189-87BE-6622B2302941}" dt="2026-05-12T12:22:30.193" v="3091"/>
          <ac:spMkLst>
            <pc:docMk/>
            <pc:sldMk cId="4062120242" sldId="731"/>
            <ac:spMk id="68" creationId="{5FFE65D1-276D-8E77-5FC1-C10324513D17}"/>
          </ac:spMkLst>
        </pc:spChg>
        <pc:spChg chg="mod">
          <ac:chgData name="Rossi, Flavia" userId="8dc1e8dd-c791-47bd-880d-50f89b3b999c" providerId="ADAL" clId="{94B328AF-1D6D-4189-87BE-6622B2302941}" dt="2026-05-12T12:22:30.193" v="3091"/>
          <ac:spMkLst>
            <pc:docMk/>
            <pc:sldMk cId="4062120242" sldId="731"/>
            <ac:spMk id="69" creationId="{87A11F13-615B-5EE9-EE8D-F8A1232E17CF}"/>
          </ac:spMkLst>
        </pc:spChg>
        <pc:spChg chg="mod">
          <ac:chgData name="Rossi, Flavia" userId="8dc1e8dd-c791-47bd-880d-50f89b3b999c" providerId="ADAL" clId="{94B328AF-1D6D-4189-87BE-6622B2302941}" dt="2026-05-12T12:22:30.193" v="3091"/>
          <ac:spMkLst>
            <pc:docMk/>
            <pc:sldMk cId="4062120242" sldId="731"/>
            <ac:spMk id="71" creationId="{4237EF12-B66E-7051-3681-80CB028AE112}"/>
          </ac:spMkLst>
        </pc:spChg>
        <pc:spChg chg="mod">
          <ac:chgData name="Rossi, Flavia" userId="8dc1e8dd-c791-47bd-880d-50f89b3b999c" providerId="ADAL" clId="{94B328AF-1D6D-4189-87BE-6622B2302941}" dt="2026-05-12T12:22:30.193" v="3091"/>
          <ac:spMkLst>
            <pc:docMk/>
            <pc:sldMk cId="4062120242" sldId="731"/>
            <ac:spMk id="72" creationId="{5F6E8CA0-0ECD-5C1D-FA88-AB2FB56A77B2}"/>
          </ac:spMkLst>
        </pc:spChg>
        <pc:spChg chg="mod">
          <ac:chgData name="Rossi, Flavia" userId="8dc1e8dd-c791-47bd-880d-50f89b3b999c" providerId="ADAL" clId="{94B328AF-1D6D-4189-87BE-6622B2302941}" dt="2026-05-12T12:22:30.193" v="3091"/>
          <ac:spMkLst>
            <pc:docMk/>
            <pc:sldMk cId="4062120242" sldId="731"/>
            <ac:spMk id="73" creationId="{4664D974-8217-25B3-CCEA-13D8F7F3E51E}"/>
          </ac:spMkLst>
        </pc:spChg>
        <pc:spChg chg="mod topLvl">
          <ac:chgData name="Rossi, Flavia" userId="8dc1e8dd-c791-47bd-880d-50f89b3b999c" providerId="ADAL" clId="{94B328AF-1D6D-4189-87BE-6622B2302941}" dt="2026-05-12T12:23:29.939" v="3097" actId="165"/>
          <ac:spMkLst>
            <pc:docMk/>
            <pc:sldMk cId="4062120242" sldId="731"/>
            <ac:spMk id="75" creationId="{F7C93316-5E67-57D8-2239-3824F887EC46}"/>
          </ac:spMkLst>
        </pc:spChg>
        <pc:spChg chg="mod topLvl">
          <ac:chgData name="Rossi, Flavia" userId="8dc1e8dd-c791-47bd-880d-50f89b3b999c" providerId="ADAL" clId="{94B328AF-1D6D-4189-87BE-6622B2302941}" dt="2026-05-12T12:23:29.939" v="3097" actId="165"/>
          <ac:spMkLst>
            <pc:docMk/>
            <pc:sldMk cId="4062120242" sldId="731"/>
            <ac:spMk id="76" creationId="{053578E9-8DBA-48D7-E8E2-F8D56D871CA3}"/>
          </ac:spMkLst>
        </pc:spChg>
        <pc:spChg chg="mod topLvl">
          <ac:chgData name="Rossi, Flavia" userId="8dc1e8dd-c791-47bd-880d-50f89b3b999c" providerId="ADAL" clId="{94B328AF-1D6D-4189-87BE-6622B2302941}" dt="2026-05-12T12:27:55.612" v="3257" actId="1038"/>
          <ac:spMkLst>
            <pc:docMk/>
            <pc:sldMk cId="4062120242" sldId="731"/>
            <ac:spMk id="77" creationId="{E143DC37-6A64-D817-24A4-E235DF83687F}"/>
          </ac:spMkLst>
        </pc:spChg>
        <pc:spChg chg="mod topLvl">
          <ac:chgData name="Rossi, Flavia" userId="8dc1e8dd-c791-47bd-880d-50f89b3b999c" providerId="ADAL" clId="{94B328AF-1D6D-4189-87BE-6622B2302941}" dt="2026-05-12T12:27:55.612" v="3257" actId="1038"/>
          <ac:spMkLst>
            <pc:docMk/>
            <pc:sldMk cId="4062120242" sldId="731"/>
            <ac:spMk id="79" creationId="{380D731A-D7FC-A752-8FBE-659FBB8B6427}"/>
          </ac:spMkLst>
        </pc:spChg>
        <pc:spChg chg="mod topLvl">
          <ac:chgData name="Rossi, Flavia" userId="8dc1e8dd-c791-47bd-880d-50f89b3b999c" providerId="ADAL" clId="{94B328AF-1D6D-4189-87BE-6622B2302941}" dt="2026-05-12T12:27:55.612" v="3257" actId="1038"/>
          <ac:spMkLst>
            <pc:docMk/>
            <pc:sldMk cId="4062120242" sldId="731"/>
            <ac:spMk id="80" creationId="{0AD5AD8A-C4BC-6A92-2D87-F202A6AAA44A}"/>
          </ac:spMkLst>
        </pc:spChg>
        <pc:spChg chg="mod topLvl">
          <ac:chgData name="Rossi, Flavia" userId="8dc1e8dd-c791-47bd-880d-50f89b3b999c" providerId="ADAL" clId="{94B328AF-1D6D-4189-87BE-6622B2302941}" dt="2026-05-12T12:23:56.634" v="3104" actId="20577"/>
          <ac:spMkLst>
            <pc:docMk/>
            <pc:sldMk cId="4062120242" sldId="731"/>
            <ac:spMk id="81" creationId="{FD5D9A51-C555-23FE-59DC-59113E24F0EF}"/>
          </ac:spMkLst>
        </pc:spChg>
        <pc:spChg chg="mod topLvl">
          <ac:chgData name="Rossi, Flavia" userId="8dc1e8dd-c791-47bd-880d-50f89b3b999c" providerId="ADAL" clId="{94B328AF-1D6D-4189-87BE-6622B2302941}" dt="2026-05-12T12:27:55.612" v="3257" actId="1038"/>
          <ac:spMkLst>
            <pc:docMk/>
            <pc:sldMk cId="4062120242" sldId="731"/>
            <ac:spMk id="83" creationId="{5763A179-29AB-BFFD-8AFC-21516D474DC0}"/>
          </ac:spMkLst>
        </pc:spChg>
        <pc:spChg chg="mod topLvl">
          <ac:chgData name="Rossi, Flavia" userId="8dc1e8dd-c791-47bd-880d-50f89b3b999c" providerId="ADAL" clId="{94B328AF-1D6D-4189-87BE-6622B2302941}" dt="2026-05-12T12:27:55.612" v="3257" actId="1038"/>
          <ac:spMkLst>
            <pc:docMk/>
            <pc:sldMk cId="4062120242" sldId="731"/>
            <ac:spMk id="84" creationId="{C3C1263E-EBE1-86BC-4863-C7EF52102487}"/>
          </ac:spMkLst>
        </pc:spChg>
        <pc:spChg chg="mod topLvl">
          <ac:chgData name="Rossi, Flavia" userId="8dc1e8dd-c791-47bd-880d-50f89b3b999c" providerId="ADAL" clId="{94B328AF-1D6D-4189-87BE-6622B2302941}" dt="2026-05-12T12:23:42.763" v="3100" actId="20577"/>
          <ac:spMkLst>
            <pc:docMk/>
            <pc:sldMk cId="4062120242" sldId="731"/>
            <ac:spMk id="85" creationId="{7634A6D3-98F1-4FC9-4E69-384134584EA6}"/>
          </ac:spMkLst>
        </pc:spChg>
        <pc:spChg chg="add mod">
          <ac:chgData name="Rossi, Flavia" userId="8dc1e8dd-c791-47bd-880d-50f89b3b999c" providerId="ADAL" clId="{94B328AF-1D6D-4189-87BE-6622B2302941}" dt="2026-05-12T12:27:55.612" v="3257" actId="1038"/>
          <ac:spMkLst>
            <pc:docMk/>
            <pc:sldMk cId="4062120242" sldId="731"/>
            <ac:spMk id="86" creationId="{AEEA3F8D-D9E8-55AF-7466-2EDA21014EA4}"/>
          </ac:spMkLst>
        </pc:spChg>
        <pc:spChg chg="add mod">
          <ac:chgData name="Rossi, Flavia" userId="8dc1e8dd-c791-47bd-880d-50f89b3b999c" providerId="ADAL" clId="{94B328AF-1D6D-4189-87BE-6622B2302941}" dt="2026-05-12T12:25:13.435" v="3120" actId="20577"/>
          <ac:spMkLst>
            <pc:docMk/>
            <pc:sldMk cId="4062120242" sldId="731"/>
            <ac:spMk id="87" creationId="{1D39E047-1C9A-23BA-EC74-2905B74C2F60}"/>
          </ac:spMkLst>
        </pc:spChg>
        <pc:spChg chg="add mod">
          <ac:chgData name="Rossi, Flavia" userId="8dc1e8dd-c791-47bd-880d-50f89b3b999c" providerId="ADAL" clId="{94B328AF-1D6D-4189-87BE-6622B2302941}" dt="2026-05-12T12:27:55.612" v="3257" actId="1038"/>
          <ac:spMkLst>
            <pc:docMk/>
            <pc:sldMk cId="4062120242" sldId="731"/>
            <ac:spMk id="88" creationId="{473874DB-D146-87BE-7603-A13E74681705}"/>
          </ac:spMkLst>
        </pc:spChg>
        <pc:spChg chg="add mod">
          <ac:chgData name="Rossi, Flavia" userId="8dc1e8dd-c791-47bd-880d-50f89b3b999c" providerId="ADAL" clId="{94B328AF-1D6D-4189-87BE-6622B2302941}" dt="2026-05-12T12:27:55.612" v="3257" actId="1038"/>
          <ac:spMkLst>
            <pc:docMk/>
            <pc:sldMk cId="4062120242" sldId="731"/>
            <ac:spMk id="89" creationId="{3BF48EBB-F3C3-1DD9-9DCC-8776D204A84C}"/>
          </ac:spMkLst>
        </pc:spChg>
        <pc:spChg chg="add mod">
          <ac:chgData name="Rossi, Flavia" userId="8dc1e8dd-c791-47bd-880d-50f89b3b999c" providerId="ADAL" clId="{94B328AF-1D6D-4189-87BE-6622B2302941}" dt="2026-05-12T12:27:55.612" v="3257" actId="1038"/>
          <ac:spMkLst>
            <pc:docMk/>
            <pc:sldMk cId="4062120242" sldId="731"/>
            <ac:spMk id="90" creationId="{F6887814-F969-0F7A-450C-22EA579ED1E2}"/>
          </ac:spMkLst>
        </pc:spChg>
        <pc:spChg chg="add mod">
          <ac:chgData name="Rossi, Flavia" userId="8dc1e8dd-c791-47bd-880d-50f89b3b999c" providerId="ADAL" clId="{94B328AF-1D6D-4189-87BE-6622B2302941}" dt="2026-05-12T12:24:46.508" v="3117" actId="20577"/>
          <ac:spMkLst>
            <pc:docMk/>
            <pc:sldMk cId="4062120242" sldId="731"/>
            <ac:spMk id="91" creationId="{930C0240-17A2-8999-CE06-3C61DCAC2D5F}"/>
          </ac:spMkLst>
        </pc:spChg>
        <pc:spChg chg="add mod">
          <ac:chgData name="Rossi, Flavia" userId="8dc1e8dd-c791-47bd-880d-50f89b3b999c" providerId="ADAL" clId="{94B328AF-1D6D-4189-87BE-6622B2302941}" dt="2026-05-12T12:26:45.206" v="3196" actId="1038"/>
          <ac:spMkLst>
            <pc:docMk/>
            <pc:sldMk cId="4062120242" sldId="731"/>
            <ac:spMk id="92" creationId="{444D3A94-29B8-8280-72C5-C79A36DE8950}"/>
          </ac:spMkLst>
        </pc:spChg>
        <pc:grpChg chg="del">
          <ac:chgData name="Rossi, Flavia" userId="8dc1e8dd-c791-47bd-880d-50f89b3b999c" providerId="ADAL" clId="{94B328AF-1D6D-4189-87BE-6622B2302941}" dt="2026-05-12T12:18:07.253" v="2883" actId="478"/>
          <ac:grpSpMkLst>
            <pc:docMk/>
            <pc:sldMk cId="4062120242" sldId="731"/>
            <ac:grpSpMk id="8" creationId="{0859305D-CB0E-3CB3-C4D0-E546991953D5}"/>
          </ac:grpSpMkLst>
        </pc:grpChg>
        <pc:grpChg chg="mod">
          <ac:chgData name="Rossi, Flavia" userId="8dc1e8dd-c791-47bd-880d-50f89b3b999c" providerId="ADAL" clId="{94B328AF-1D6D-4189-87BE-6622B2302941}" dt="2026-05-12T12:22:15.458" v="3088" actId="1035"/>
          <ac:grpSpMkLst>
            <pc:docMk/>
            <pc:sldMk cId="4062120242" sldId="731"/>
            <ac:grpSpMk id="15" creationId="{A7977266-7D48-3D52-3E71-ACBF50D16A2A}"/>
          </ac:grpSpMkLst>
        </pc:grpChg>
        <pc:grpChg chg="mod">
          <ac:chgData name="Rossi, Flavia" userId="8dc1e8dd-c791-47bd-880d-50f89b3b999c" providerId="ADAL" clId="{94B328AF-1D6D-4189-87BE-6622B2302941}" dt="2026-05-12T12:22:15.458" v="3088" actId="1035"/>
          <ac:grpSpMkLst>
            <pc:docMk/>
            <pc:sldMk cId="4062120242" sldId="731"/>
            <ac:grpSpMk id="20" creationId="{9FEC8316-3ACD-4787-1833-DD3353A8AA1A}"/>
          </ac:grpSpMkLst>
        </pc:grpChg>
        <pc:grpChg chg="del">
          <ac:chgData name="Rossi, Flavia" userId="8dc1e8dd-c791-47bd-880d-50f89b3b999c" providerId="ADAL" clId="{94B328AF-1D6D-4189-87BE-6622B2302941}" dt="2026-05-12T12:18:05.418" v="2882" actId="478"/>
          <ac:grpSpMkLst>
            <pc:docMk/>
            <pc:sldMk cId="4062120242" sldId="731"/>
            <ac:grpSpMk id="28" creationId="{4BB05EAE-1E20-D59D-0CF2-ACB07C80FC5B}"/>
          </ac:grpSpMkLst>
        </pc:grpChg>
        <pc:grpChg chg="del">
          <ac:chgData name="Rossi, Flavia" userId="8dc1e8dd-c791-47bd-880d-50f89b3b999c" providerId="ADAL" clId="{94B328AF-1D6D-4189-87BE-6622B2302941}" dt="2026-05-12T12:18:03.992" v="2881" actId="478"/>
          <ac:grpSpMkLst>
            <pc:docMk/>
            <pc:sldMk cId="4062120242" sldId="731"/>
            <ac:grpSpMk id="29" creationId="{8EEA84AA-936E-36E3-D856-D351CBBD2D96}"/>
          </ac:grpSpMkLst>
        </pc:grpChg>
        <pc:grpChg chg="del mod">
          <ac:chgData name="Rossi, Flavia" userId="8dc1e8dd-c791-47bd-880d-50f89b3b999c" providerId="ADAL" clId="{94B328AF-1D6D-4189-87BE-6622B2302941}" dt="2026-05-12T12:19:41.262" v="3015" actId="478"/>
          <ac:grpSpMkLst>
            <pc:docMk/>
            <pc:sldMk cId="4062120242" sldId="731"/>
            <ac:grpSpMk id="32" creationId="{1BE68586-937C-4287-D50B-DFD2981D97AF}"/>
          </ac:grpSpMkLst>
        </pc:grpChg>
        <pc:grpChg chg="del mod">
          <ac:chgData name="Rossi, Flavia" userId="8dc1e8dd-c791-47bd-880d-50f89b3b999c" providerId="ADAL" clId="{94B328AF-1D6D-4189-87BE-6622B2302941}" dt="2026-05-12T12:19:41.262" v="3015" actId="478"/>
          <ac:grpSpMkLst>
            <pc:docMk/>
            <pc:sldMk cId="4062120242" sldId="731"/>
            <ac:grpSpMk id="36" creationId="{1EAB5C6D-188B-B707-35FB-DD566E16B122}"/>
          </ac:grpSpMkLst>
        </pc:grpChg>
        <pc:grpChg chg="mod">
          <ac:chgData name="Rossi, Flavia" userId="8dc1e8dd-c791-47bd-880d-50f89b3b999c" providerId="ADAL" clId="{94B328AF-1D6D-4189-87BE-6622B2302941}" dt="2026-05-12T12:22:15.458" v="3088" actId="1035"/>
          <ac:grpSpMkLst>
            <pc:docMk/>
            <pc:sldMk cId="4062120242" sldId="731"/>
            <ac:grpSpMk id="40" creationId="{3884A664-FBF3-FF56-8768-527081CEEFF0}"/>
          </ac:grpSpMkLst>
        </pc:grpChg>
        <pc:grpChg chg="del mod">
          <ac:chgData name="Rossi, Flavia" userId="8dc1e8dd-c791-47bd-880d-50f89b3b999c" providerId="ADAL" clId="{94B328AF-1D6D-4189-87BE-6622B2302941}" dt="2026-05-12T12:22:24.805" v="3090" actId="478"/>
          <ac:grpSpMkLst>
            <pc:docMk/>
            <pc:sldMk cId="4062120242" sldId="731"/>
            <ac:grpSpMk id="47" creationId="{4C123712-F140-247A-8432-20F567FAED3F}"/>
          </ac:grpSpMkLst>
        </pc:grpChg>
        <pc:grpChg chg="del mod">
          <ac:chgData name="Rossi, Flavia" userId="8dc1e8dd-c791-47bd-880d-50f89b3b999c" providerId="ADAL" clId="{94B328AF-1D6D-4189-87BE-6622B2302941}" dt="2026-05-12T12:22:24.805" v="3090" actId="478"/>
          <ac:grpSpMkLst>
            <pc:docMk/>
            <pc:sldMk cId="4062120242" sldId="731"/>
            <ac:grpSpMk id="51" creationId="{C0ADDD0A-E9DB-2A80-2473-B5E69526BE7D}"/>
          </ac:grpSpMkLst>
        </pc:grpChg>
        <pc:grpChg chg="del mod">
          <ac:chgData name="Rossi, Flavia" userId="8dc1e8dd-c791-47bd-880d-50f89b3b999c" providerId="ADAL" clId="{94B328AF-1D6D-4189-87BE-6622B2302941}" dt="2026-05-12T12:22:24.805" v="3090" actId="478"/>
          <ac:grpSpMkLst>
            <pc:docMk/>
            <pc:sldMk cId="4062120242" sldId="731"/>
            <ac:grpSpMk id="55" creationId="{AC66849F-76C2-2BBC-EF7A-8D4DAD66FBAE}"/>
          </ac:grpSpMkLst>
        </pc:grpChg>
        <pc:grpChg chg="add mod">
          <ac:chgData name="Rossi, Flavia" userId="8dc1e8dd-c791-47bd-880d-50f89b3b999c" providerId="ADAL" clId="{94B328AF-1D6D-4189-87BE-6622B2302941}" dt="2026-05-12T12:22:30.193" v="3091"/>
          <ac:grpSpMkLst>
            <pc:docMk/>
            <pc:sldMk cId="4062120242" sldId="731"/>
            <ac:grpSpMk id="62" creationId="{5E51D1BA-44E6-3366-11B4-0B36C1C636FC}"/>
          </ac:grpSpMkLst>
        </pc:grpChg>
        <pc:grpChg chg="add mod">
          <ac:chgData name="Rossi, Flavia" userId="8dc1e8dd-c791-47bd-880d-50f89b3b999c" providerId="ADAL" clId="{94B328AF-1D6D-4189-87BE-6622B2302941}" dt="2026-05-12T12:22:49.110" v="3095" actId="1076"/>
          <ac:grpSpMkLst>
            <pc:docMk/>
            <pc:sldMk cId="4062120242" sldId="731"/>
            <ac:grpSpMk id="74" creationId="{9DC41626-AD0B-3150-2440-AC86EFC9EF3A}"/>
          </ac:grpSpMkLst>
        </pc:grpChg>
        <pc:grpChg chg="del mod">
          <ac:chgData name="Rossi, Flavia" userId="8dc1e8dd-c791-47bd-880d-50f89b3b999c" providerId="ADAL" clId="{94B328AF-1D6D-4189-87BE-6622B2302941}" dt="2026-05-12T12:23:29.939" v="3097" actId="165"/>
          <ac:grpSpMkLst>
            <pc:docMk/>
            <pc:sldMk cId="4062120242" sldId="731"/>
            <ac:grpSpMk id="78" creationId="{CEF1AE4E-D971-9739-9957-E017D81A1E02}"/>
          </ac:grpSpMkLst>
        </pc:grpChg>
        <pc:grpChg chg="mod">
          <ac:chgData name="Rossi, Flavia" userId="8dc1e8dd-c791-47bd-880d-50f89b3b999c" providerId="ADAL" clId="{94B328AF-1D6D-4189-87BE-6622B2302941}" dt="2026-05-12T12:22:49.110" v="3095" actId="1076"/>
          <ac:grpSpMkLst>
            <pc:docMk/>
            <pc:sldMk cId="4062120242" sldId="731"/>
            <ac:grpSpMk id="82" creationId="{01495141-F87E-DA75-FE52-9D578BC4F1C3}"/>
          </ac:grpSpMkLst>
        </pc:grpChg>
        <pc:graphicFrameChg chg="mod">
          <ac:chgData name="Rossi, Flavia" userId="8dc1e8dd-c791-47bd-880d-50f89b3b999c" providerId="ADAL" clId="{94B328AF-1D6D-4189-87BE-6622B2302941}" dt="2026-05-12T12:20:29.319" v="3033" actId="1076"/>
          <ac:graphicFrameMkLst>
            <pc:docMk/>
            <pc:sldMk cId="4062120242" sldId="731"/>
            <ac:graphicFrameMk id="22" creationId="{0B05DF24-73B9-B7BC-8ED0-87D22732733B}"/>
          </ac:graphicFrameMkLst>
        </pc:graphicFrameChg>
      </pc:sldChg>
    </pc:docChg>
  </pc:docChgLst>
  <pc:docChgLst>
    <pc:chgData name="Di Giovanni, Jacopo" userId="1c0dd4d4-ce7c-493a-9402-a0ed3a5c24bd" providerId="ADAL" clId="{C46E89DA-7211-4BC2-8D98-0636D74B2FBC}"/>
    <pc:docChg chg="undo redo custSel addSld delSld modSld sldOrd modSection">
      <pc:chgData name="Di Giovanni, Jacopo" userId="1c0dd4d4-ce7c-493a-9402-a0ed3a5c24bd" providerId="ADAL" clId="{C46E89DA-7211-4BC2-8D98-0636D74B2FBC}" dt="2026-05-12T15:21:31.577" v="10932" actId="5793"/>
      <pc:docMkLst>
        <pc:docMk/>
      </pc:docMkLst>
      <pc:sldChg chg="addSp delSp modSp add mod">
        <pc:chgData name="Di Giovanni, Jacopo" userId="1c0dd4d4-ce7c-493a-9402-a0ed3a5c24bd" providerId="ADAL" clId="{C46E89DA-7211-4BC2-8D98-0636D74B2FBC}" dt="2026-05-08T15:13:16.882" v="6214" actId="1076"/>
        <pc:sldMkLst>
          <pc:docMk/>
          <pc:sldMk cId="1317860926" sldId="333"/>
        </pc:sldMkLst>
        <pc:spChg chg="mod">
          <ac:chgData name="Di Giovanni, Jacopo" userId="1c0dd4d4-ce7c-493a-9402-a0ed3a5c24bd" providerId="ADAL" clId="{C46E89DA-7211-4BC2-8D98-0636D74B2FBC}" dt="2026-05-08T15:12:17.488" v="6205" actId="1076"/>
          <ac:spMkLst>
            <pc:docMk/>
            <pc:sldMk cId="1317860926" sldId="333"/>
            <ac:spMk id="3" creationId="{1BFBD1E4-35B7-B413-96FB-DA8A87455F26}"/>
          </ac:spMkLst>
        </pc:spChg>
        <pc:spChg chg="mod">
          <ac:chgData name="Di Giovanni, Jacopo" userId="1c0dd4d4-ce7c-493a-9402-a0ed3a5c24bd" providerId="ADAL" clId="{C46E89DA-7211-4BC2-8D98-0636D74B2FBC}" dt="2026-05-08T12:33:05.210" v="5938" actId="207"/>
          <ac:spMkLst>
            <pc:docMk/>
            <pc:sldMk cId="1317860926" sldId="333"/>
            <ac:spMk id="5" creationId="{FC2F0F38-61DA-C7CD-3F6B-1A60E6D5D33A}"/>
          </ac:spMkLst>
        </pc:spChg>
        <pc:spChg chg="add mod">
          <ac:chgData name="Di Giovanni, Jacopo" userId="1c0dd4d4-ce7c-493a-9402-a0ed3a5c24bd" providerId="ADAL" clId="{C46E89DA-7211-4BC2-8D98-0636D74B2FBC}" dt="2026-04-29T09:17:47.926" v="2957" actId="2711"/>
          <ac:spMkLst>
            <pc:docMk/>
            <pc:sldMk cId="1317860926" sldId="333"/>
            <ac:spMk id="9" creationId="{E7B0AA1F-8455-09FD-3043-BF183EBA40E0}"/>
          </ac:spMkLst>
        </pc:spChg>
        <pc:spChg chg="add mod">
          <ac:chgData name="Di Giovanni, Jacopo" userId="1c0dd4d4-ce7c-493a-9402-a0ed3a5c24bd" providerId="ADAL" clId="{C46E89DA-7211-4BC2-8D98-0636D74B2FBC}" dt="2026-05-08T13:26:08.448" v="6032" actId="2711"/>
          <ac:spMkLst>
            <pc:docMk/>
            <pc:sldMk cId="1317860926" sldId="333"/>
            <ac:spMk id="19" creationId="{6F5B6B5C-D8BF-3A42-352C-7C1931D8E48B}"/>
          </ac:spMkLst>
        </pc:spChg>
        <pc:spChg chg="mod">
          <ac:chgData name="Di Giovanni, Jacopo" userId="1c0dd4d4-ce7c-493a-9402-a0ed3a5c24bd" providerId="ADAL" clId="{C46E89DA-7211-4BC2-8D98-0636D74B2FBC}" dt="2026-05-08T12:33:22.932" v="5941" actId="208"/>
          <ac:spMkLst>
            <pc:docMk/>
            <pc:sldMk cId="1317860926" sldId="333"/>
            <ac:spMk id="21" creationId="{95B146F5-E3E7-6491-9FE1-2F655EF6913B}"/>
          </ac:spMkLst>
        </pc:spChg>
        <pc:spChg chg="mod">
          <ac:chgData name="Di Giovanni, Jacopo" userId="1c0dd4d4-ce7c-493a-9402-a0ed3a5c24bd" providerId="ADAL" clId="{C46E89DA-7211-4BC2-8D98-0636D74B2FBC}" dt="2026-05-08T12:33:17.082" v="5940" actId="207"/>
          <ac:spMkLst>
            <pc:docMk/>
            <pc:sldMk cId="1317860926" sldId="333"/>
            <ac:spMk id="22" creationId="{1D2DEFE5-5407-D8DC-11CA-F45702C1C91E}"/>
          </ac:spMkLst>
        </pc:spChg>
        <pc:spChg chg="mod">
          <ac:chgData name="Di Giovanni, Jacopo" userId="1c0dd4d4-ce7c-493a-9402-a0ed3a5c24bd" providerId="ADAL" clId="{C46E89DA-7211-4BC2-8D98-0636D74B2FBC}" dt="2026-05-08T12:42:15.451" v="5976" actId="108"/>
          <ac:spMkLst>
            <pc:docMk/>
            <pc:sldMk cId="1317860926" sldId="333"/>
            <ac:spMk id="23" creationId="{76F096B8-4FBF-2061-9F7D-EDA2A412361C}"/>
          </ac:spMkLst>
        </pc:spChg>
        <pc:spChg chg="mod">
          <ac:chgData name="Di Giovanni, Jacopo" userId="1c0dd4d4-ce7c-493a-9402-a0ed3a5c24bd" providerId="ADAL" clId="{C46E89DA-7211-4BC2-8D98-0636D74B2FBC}" dt="2026-05-08T12:53:50.111" v="5984" actId="208"/>
          <ac:spMkLst>
            <pc:docMk/>
            <pc:sldMk cId="1317860926" sldId="333"/>
            <ac:spMk id="24" creationId="{F49E4B72-7544-77AC-E8E7-0CD8BCD30531}"/>
          </ac:spMkLst>
        </pc:spChg>
        <pc:spChg chg="mod">
          <ac:chgData name="Di Giovanni, Jacopo" userId="1c0dd4d4-ce7c-493a-9402-a0ed3a5c24bd" providerId="ADAL" clId="{C46E89DA-7211-4BC2-8D98-0636D74B2FBC}" dt="2026-05-08T12:41:42.259" v="5969" actId="207"/>
          <ac:spMkLst>
            <pc:docMk/>
            <pc:sldMk cId="1317860926" sldId="333"/>
            <ac:spMk id="25" creationId="{6643E416-B4A1-D0E1-C07F-297178A9A187}"/>
          </ac:spMkLst>
        </pc:spChg>
        <pc:spChg chg="mod">
          <ac:chgData name="Di Giovanni, Jacopo" userId="1c0dd4d4-ce7c-493a-9402-a0ed3a5c24bd" providerId="ADAL" clId="{C46E89DA-7211-4BC2-8D98-0636D74B2FBC}" dt="2026-05-08T12:42:35.705" v="5979" actId="208"/>
          <ac:spMkLst>
            <pc:docMk/>
            <pc:sldMk cId="1317860926" sldId="333"/>
            <ac:spMk id="26" creationId="{FA857E2E-B033-9E2E-5D54-1863036B3035}"/>
          </ac:spMkLst>
        </pc:spChg>
        <pc:spChg chg="mod">
          <ac:chgData name="Di Giovanni, Jacopo" userId="1c0dd4d4-ce7c-493a-9402-a0ed3a5c24bd" providerId="ADAL" clId="{C46E89DA-7211-4BC2-8D98-0636D74B2FBC}" dt="2026-05-08T12:53:54.851" v="5985" actId="208"/>
          <ac:spMkLst>
            <pc:docMk/>
            <pc:sldMk cId="1317860926" sldId="333"/>
            <ac:spMk id="27" creationId="{192278A4-626B-F897-D1FE-688BE71782BB}"/>
          </ac:spMkLst>
        </pc:spChg>
        <pc:spChg chg="mod">
          <ac:chgData name="Di Giovanni, Jacopo" userId="1c0dd4d4-ce7c-493a-9402-a0ed3a5c24bd" providerId="ADAL" clId="{C46E89DA-7211-4BC2-8D98-0636D74B2FBC}" dt="2026-05-08T12:41:49.723" v="5971" actId="207"/>
          <ac:spMkLst>
            <pc:docMk/>
            <pc:sldMk cId="1317860926" sldId="333"/>
            <ac:spMk id="28" creationId="{C114DDEE-86C8-5B85-A3EF-0A55E508F9DD}"/>
          </ac:spMkLst>
        </pc:spChg>
        <pc:spChg chg="mod">
          <ac:chgData name="Di Giovanni, Jacopo" userId="1c0dd4d4-ce7c-493a-9402-a0ed3a5c24bd" providerId="ADAL" clId="{C46E89DA-7211-4BC2-8D98-0636D74B2FBC}" dt="2026-05-08T12:44:48.226" v="5981" actId="208"/>
          <ac:spMkLst>
            <pc:docMk/>
            <pc:sldMk cId="1317860926" sldId="333"/>
            <ac:spMk id="31" creationId="{2F6109FA-62C5-E864-DE60-8FF59598EC7A}"/>
          </ac:spMkLst>
        </pc:spChg>
        <pc:spChg chg="mod">
          <ac:chgData name="Di Giovanni, Jacopo" userId="1c0dd4d4-ce7c-493a-9402-a0ed3a5c24bd" providerId="ADAL" clId="{C46E89DA-7211-4BC2-8D98-0636D74B2FBC}" dt="2026-05-08T12:54:07.754" v="5987" actId="208"/>
          <ac:spMkLst>
            <pc:docMk/>
            <pc:sldMk cId="1317860926" sldId="333"/>
            <ac:spMk id="34" creationId="{61CCF151-6860-24EB-B495-E6F85B2E5326}"/>
          </ac:spMkLst>
        </pc:spChg>
        <pc:spChg chg="mod">
          <ac:chgData name="Di Giovanni, Jacopo" userId="1c0dd4d4-ce7c-493a-9402-a0ed3a5c24bd" providerId="ADAL" clId="{C46E89DA-7211-4BC2-8D98-0636D74B2FBC}" dt="2026-05-08T12:41:54.313" v="5972" actId="207"/>
          <ac:spMkLst>
            <pc:docMk/>
            <pc:sldMk cId="1317860926" sldId="333"/>
            <ac:spMk id="35" creationId="{6446A783-F8DB-A792-DE23-0087819013B3}"/>
          </ac:spMkLst>
        </pc:spChg>
        <pc:spChg chg="mod">
          <ac:chgData name="Di Giovanni, Jacopo" userId="1c0dd4d4-ce7c-493a-9402-a0ed3a5c24bd" providerId="ADAL" clId="{C46E89DA-7211-4BC2-8D98-0636D74B2FBC}" dt="2026-05-08T12:44:55.531" v="5982" actId="208"/>
          <ac:spMkLst>
            <pc:docMk/>
            <pc:sldMk cId="1317860926" sldId="333"/>
            <ac:spMk id="36" creationId="{BC0BB7B1-D263-10AD-48B9-D3CE4508FAB2}"/>
          </ac:spMkLst>
        </pc:spChg>
        <pc:spChg chg="mod">
          <ac:chgData name="Di Giovanni, Jacopo" userId="1c0dd4d4-ce7c-493a-9402-a0ed3a5c24bd" providerId="ADAL" clId="{C46E89DA-7211-4BC2-8D98-0636D74B2FBC}" dt="2026-05-08T12:54:12.871" v="5988" actId="208"/>
          <ac:spMkLst>
            <pc:docMk/>
            <pc:sldMk cId="1317860926" sldId="333"/>
            <ac:spMk id="37" creationId="{C7B0A93B-032A-795D-3944-DD461F469966}"/>
          </ac:spMkLst>
        </pc:spChg>
        <pc:spChg chg="add mod">
          <ac:chgData name="Di Giovanni, Jacopo" userId="1c0dd4d4-ce7c-493a-9402-a0ed3a5c24bd" providerId="ADAL" clId="{C46E89DA-7211-4BC2-8D98-0636D74B2FBC}" dt="2026-05-08T12:42:42.030" v="5980" actId="208"/>
          <ac:spMkLst>
            <pc:docMk/>
            <pc:sldMk cId="1317860926" sldId="333"/>
            <ac:spMk id="39" creationId="{D31D4C55-2DD2-4A16-B7D3-59CF415E27C3}"/>
          </ac:spMkLst>
        </pc:spChg>
        <pc:spChg chg="add mod">
          <ac:chgData name="Di Giovanni, Jacopo" userId="1c0dd4d4-ce7c-493a-9402-a0ed3a5c24bd" providerId="ADAL" clId="{C46E89DA-7211-4BC2-8D98-0636D74B2FBC}" dt="2026-05-08T12:41:46.178" v="5970" actId="207"/>
          <ac:spMkLst>
            <pc:docMk/>
            <pc:sldMk cId="1317860926" sldId="333"/>
            <ac:spMk id="40" creationId="{F57A8C7C-7F42-154B-C1EF-9A7F250FFAD3}"/>
          </ac:spMkLst>
        </pc:spChg>
        <pc:spChg chg="add mod">
          <ac:chgData name="Di Giovanni, Jacopo" userId="1c0dd4d4-ce7c-493a-9402-a0ed3a5c24bd" providerId="ADAL" clId="{C46E89DA-7211-4BC2-8D98-0636D74B2FBC}" dt="2026-05-08T12:54:01.444" v="5986" actId="208"/>
          <ac:spMkLst>
            <pc:docMk/>
            <pc:sldMk cId="1317860926" sldId="333"/>
            <ac:spMk id="41" creationId="{98BA7A02-1EFC-CDC9-C053-6D5B41CA043F}"/>
          </ac:spMkLst>
        </pc:spChg>
        <pc:spChg chg="mod">
          <ac:chgData name="Di Giovanni, Jacopo" userId="1c0dd4d4-ce7c-493a-9402-a0ed3a5c24bd" providerId="ADAL" clId="{C46E89DA-7211-4BC2-8D98-0636D74B2FBC}" dt="2026-04-29T12:51:13.351" v="4143" actId="255"/>
          <ac:spMkLst>
            <pc:docMk/>
            <pc:sldMk cId="1317860926" sldId="333"/>
            <ac:spMk id="100" creationId="{14A4A423-B70B-91B4-66F7-F34F2507EB77}"/>
          </ac:spMkLst>
        </pc:spChg>
      </pc:sldChg>
      <pc:sldChg chg="addSp delSp modSp add mod ord">
        <pc:chgData name="Di Giovanni, Jacopo" userId="1c0dd4d4-ce7c-493a-9402-a0ed3a5c24bd" providerId="ADAL" clId="{C46E89DA-7211-4BC2-8D98-0636D74B2FBC}" dt="2026-05-12T13:10:23.086" v="10615" actId="478"/>
        <pc:sldMkLst>
          <pc:docMk/>
          <pc:sldMk cId="1751751344" sldId="335"/>
        </pc:sldMkLst>
        <pc:spChg chg="del mod">
          <ac:chgData name="Di Giovanni, Jacopo" userId="1c0dd4d4-ce7c-493a-9402-a0ed3a5c24bd" providerId="ADAL" clId="{C46E89DA-7211-4BC2-8D98-0636D74B2FBC}" dt="2026-05-12T13:10:23.086" v="10615" actId="478"/>
          <ac:spMkLst>
            <pc:docMk/>
            <pc:sldMk cId="1751751344" sldId="335"/>
            <ac:spMk id="2" creationId="{BA7DB555-3614-D023-8A0F-0E202A67A135}"/>
          </ac:spMkLst>
        </pc:spChg>
        <pc:spChg chg="add mod">
          <ac:chgData name="Di Giovanni, Jacopo" userId="1c0dd4d4-ce7c-493a-9402-a0ed3a5c24bd" providerId="ADAL" clId="{C46E89DA-7211-4BC2-8D98-0636D74B2FBC}" dt="2026-05-12T13:00:51.317" v="10605" actId="20577"/>
          <ac:spMkLst>
            <pc:docMk/>
            <pc:sldMk cId="1751751344" sldId="335"/>
            <ac:spMk id="3" creationId="{79F69840-0290-A2C9-BBD6-11B8C7913BD6}"/>
          </ac:spMkLst>
        </pc:spChg>
        <pc:spChg chg="del mod">
          <ac:chgData name="Di Giovanni, Jacopo" userId="1c0dd4d4-ce7c-493a-9402-a0ed3a5c24bd" providerId="ADAL" clId="{C46E89DA-7211-4BC2-8D98-0636D74B2FBC}" dt="2026-05-11T15:57:00.922" v="8225" actId="478"/>
          <ac:spMkLst>
            <pc:docMk/>
            <pc:sldMk cId="1751751344" sldId="335"/>
            <ac:spMk id="3" creationId="{ED9E81B3-D28B-D885-C5B8-684AD2126524}"/>
          </ac:spMkLst>
        </pc:spChg>
        <pc:spChg chg="mod">
          <ac:chgData name="Di Giovanni, Jacopo" userId="1c0dd4d4-ce7c-493a-9402-a0ed3a5c24bd" providerId="ADAL" clId="{C46E89DA-7211-4BC2-8D98-0636D74B2FBC}" dt="2026-05-12T13:10:19.845" v="10614" actId="20577"/>
          <ac:spMkLst>
            <pc:docMk/>
            <pc:sldMk cId="1751751344" sldId="335"/>
            <ac:spMk id="5" creationId="{CABCB0A9-D653-3789-7432-7D6C6462734B}"/>
          </ac:spMkLst>
        </pc:spChg>
        <pc:spChg chg="add mod">
          <ac:chgData name="Di Giovanni, Jacopo" userId="1c0dd4d4-ce7c-493a-9402-a0ed3a5c24bd" providerId="ADAL" clId="{C46E89DA-7211-4BC2-8D98-0636D74B2FBC}" dt="2026-05-11T15:57:02.132" v="8226"/>
          <ac:spMkLst>
            <pc:docMk/>
            <pc:sldMk cId="1751751344" sldId="335"/>
            <ac:spMk id="8" creationId="{659840DE-1F0C-00B0-BA6E-BDFCED674F55}"/>
          </ac:spMkLst>
        </pc:spChg>
        <pc:spChg chg="add mod">
          <ac:chgData name="Di Giovanni, Jacopo" userId="1c0dd4d4-ce7c-493a-9402-a0ed3a5c24bd" providerId="ADAL" clId="{C46E89DA-7211-4BC2-8D98-0636D74B2FBC}" dt="2026-05-11T15:57:43.524" v="8233"/>
          <ac:spMkLst>
            <pc:docMk/>
            <pc:sldMk cId="1751751344" sldId="335"/>
            <ac:spMk id="9" creationId="{18957172-00F5-CB52-89AE-4BE1055AA2AF}"/>
          </ac:spMkLst>
        </pc:spChg>
        <pc:spChg chg="del mod">
          <ac:chgData name="Di Giovanni, Jacopo" userId="1c0dd4d4-ce7c-493a-9402-a0ed3a5c24bd" providerId="ADAL" clId="{C46E89DA-7211-4BC2-8D98-0636D74B2FBC}" dt="2026-05-12T08:26:51.258" v="8636" actId="478"/>
          <ac:spMkLst>
            <pc:docMk/>
            <pc:sldMk cId="1751751344" sldId="335"/>
            <ac:spMk id="100" creationId="{878D2A67-7C87-16B7-0DF7-712E4DEE1A52}"/>
          </ac:spMkLst>
        </pc:spChg>
        <pc:spChg chg="mod">
          <ac:chgData name="Di Giovanni, Jacopo" userId="1c0dd4d4-ce7c-493a-9402-a0ed3a5c24bd" providerId="ADAL" clId="{C46E89DA-7211-4BC2-8D98-0636D74B2FBC}" dt="2026-05-12T12:38:43.660" v="10601" actId="13926"/>
          <ac:spMkLst>
            <pc:docMk/>
            <pc:sldMk cId="1751751344" sldId="335"/>
            <ac:spMk id="101" creationId="{9034C767-4565-5F50-EFE5-3BD79FBADD78}"/>
          </ac:spMkLst>
        </pc:spChg>
        <pc:graphicFrameChg chg="mod">
          <ac:chgData name="Di Giovanni, Jacopo" userId="1c0dd4d4-ce7c-493a-9402-a0ed3a5c24bd" providerId="ADAL" clId="{C46E89DA-7211-4BC2-8D98-0636D74B2FBC}" dt="2026-05-12T13:10:07.507" v="10609" actId="113"/>
          <ac:graphicFrameMkLst>
            <pc:docMk/>
            <pc:sldMk cId="1751751344" sldId="335"/>
            <ac:graphicFrameMk id="7" creationId="{15F0E2FE-E4FA-DA04-DF39-62D4993CD4AE}"/>
          </ac:graphicFrameMkLst>
        </pc:graphicFrameChg>
      </pc:sldChg>
      <pc:sldChg chg="modSp mod">
        <pc:chgData name="Di Giovanni, Jacopo" userId="1c0dd4d4-ce7c-493a-9402-a0ed3a5c24bd" providerId="ADAL" clId="{C46E89DA-7211-4BC2-8D98-0636D74B2FBC}" dt="2026-04-27T14:07:46.835" v="277" actId="1076"/>
        <pc:sldMkLst>
          <pc:docMk/>
          <pc:sldMk cId="2015608427" sldId="661"/>
        </pc:sldMkLst>
        <pc:spChg chg="mod">
          <ac:chgData name="Di Giovanni, Jacopo" userId="1c0dd4d4-ce7c-493a-9402-a0ed3a5c24bd" providerId="ADAL" clId="{C46E89DA-7211-4BC2-8D98-0636D74B2FBC}" dt="2026-04-27T14:07:46.835" v="277" actId="1076"/>
          <ac:spMkLst>
            <pc:docMk/>
            <pc:sldMk cId="2015608427" sldId="661"/>
            <ac:spMk id="2" creationId="{5510E56A-F2BE-78CE-68A2-CF3C46068027}"/>
          </ac:spMkLst>
        </pc:spChg>
        <pc:spChg chg="mod">
          <ac:chgData name="Di Giovanni, Jacopo" userId="1c0dd4d4-ce7c-493a-9402-a0ed3a5c24bd" providerId="ADAL" clId="{C46E89DA-7211-4BC2-8D98-0636D74B2FBC}" dt="2026-04-27T10:18:43.677" v="190" actId="20577"/>
          <ac:spMkLst>
            <pc:docMk/>
            <pc:sldMk cId="2015608427" sldId="661"/>
            <ac:spMk id="3" creationId="{A8F1CBB0-71C2-B9D2-1B5F-3C93E249BF86}"/>
          </ac:spMkLst>
        </pc:spChg>
      </pc:sldChg>
      <pc:sldChg chg="addSp delSp modSp mod">
        <pc:chgData name="Di Giovanni, Jacopo" userId="1c0dd4d4-ce7c-493a-9402-a0ed3a5c24bd" providerId="ADAL" clId="{C46E89DA-7211-4BC2-8D98-0636D74B2FBC}" dt="2026-04-29T13:22:28.631" v="4296" actId="2711"/>
        <pc:sldMkLst>
          <pc:docMk/>
          <pc:sldMk cId="1936480655" sldId="662"/>
        </pc:sldMkLst>
        <pc:spChg chg="mod">
          <ac:chgData name="Di Giovanni, Jacopo" userId="1c0dd4d4-ce7c-493a-9402-a0ed3a5c24bd" providerId="ADAL" clId="{C46E89DA-7211-4BC2-8D98-0636D74B2FBC}" dt="2026-04-29T13:22:28.631" v="4296" actId="2711"/>
          <ac:spMkLst>
            <pc:docMk/>
            <pc:sldMk cId="1936480655" sldId="662"/>
            <ac:spMk id="2" creationId="{4EC62105-2DFD-276D-558C-0CD46A05B641}"/>
          </ac:spMkLst>
        </pc:spChg>
        <pc:spChg chg="add mod">
          <ac:chgData name="Di Giovanni, Jacopo" userId="1c0dd4d4-ce7c-493a-9402-a0ed3a5c24bd" providerId="ADAL" clId="{C46E89DA-7211-4BC2-8D98-0636D74B2FBC}" dt="2026-04-27T13:13:04.156" v="261" actId="20577"/>
          <ac:spMkLst>
            <pc:docMk/>
            <pc:sldMk cId="1936480655" sldId="662"/>
            <ac:spMk id="6" creationId="{3E964A93-85D2-AE72-612E-46BCCFFFF52E}"/>
          </ac:spMkLst>
        </pc:spChg>
      </pc:sldChg>
      <pc:sldChg chg="addSp delSp modSp mod">
        <pc:chgData name="Di Giovanni, Jacopo" userId="1c0dd4d4-ce7c-493a-9402-a0ed3a5c24bd" providerId="ADAL" clId="{C46E89DA-7211-4BC2-8D98-0636D74B2FBC}" dt="2026-05-08T14:32:44.940" v="6179" actId="2711"/>
        <pc:sldMkLst>
          <pc:docMk/>
          <pc:sldMk cId="1355272018" sldId="705"/>
        </pc:sldMkLst>
        <pc:spChg chg="add mod">
          <ac:chgData name="Di Giovanni, Jacopo" userId="1c0dd4d4-ce7c-493a-9402-a0ed3a5c24bd" providerId="ADAL" clId="{C46E89DA-7211-4BC2-8D98-0636D74B2FBC}" dt="2026-05-08T14:32:44.940" v="6179" actId="2711"/>
          <ac:spMkLst>
            <pc:docMk/>
            <pc:sldMk cId="1355272018" sldId="705"/>
            <ac:spMk id="2" creationId="{1B053BE8-1F10-BB83-5100-16D20BA49138}"/>
          </ac:spMkLst>
        </pc:spChg>
      </pc:sldChg>
      <pc:sldChg chg="addSp delSp modSp add mod">
        <pc:chgData name="Di Giovanni, Jacopo" userId="1c0dd4d4-ce7c-493a-9402-a0ed3a5c24bd" providerId="ADAL" clId="{C46E89DA-7211-4BC2-8D98-0636D74B2FBC}" dt="2026-05-11T08:57:00.931" v="6927" actId="20577"/>
        <pc:sldMkLst>
          <pc:docMk/>
          <pc:sldMk cId="3993737009" sldId="708"/>
        </pc:sldMkLst>
        <pc:spChg chg="mod">
          <ac:chgData name="Di Giovanni, Jacopo" userId="1c0dd4d4-ce7c-493a-9402-a0ed3a5c24bd" providerId="ADAL" clId="{C46E89DA-7211-4BC2-8D98-0636D74B2FBC}" dt="2026-05-08T13:06:40.512" v="6003" actId="207"/>
          <ac:spMkLst>
            <pc:docMk/>
            <pc:sldMk cId="3993737009" sldId="708"/>
            <ac:spMk id="7" creationId="{D271B3A6-702C-3765-D52B-F2BAD9F0A172}"/>
          </ac:spMkLst>
        </pc:spChg>
        <pc:spChg chg="mod">
          <ac:chgData name="Di Giovanni, Jacopo" userId="1c0dd4d4-ce7c-493a-9402-a0ed3a5c24bd" providerId="ADAL" clId="{C46E89DA-7211-4BC2-8D98-0636D74B2FBC}" dt="2026-05-08T12:46:25.405" v="5983" actId="2711"/>
          <ac:spMkLst>
            <pc:docMk/>
            <pc:sldMk cId="3993737009" sldId="708"/>
            <ac:spMk id="9" creationId="{13226282-5570-187C-DA9A-CD3A4C925727}"/>
          </ac:spMkLst>
        </pc:spChg>
        <pc:spChg chg="mod">
          <ac:chgData name="Di Giovanni, Jacopo" userId="1c0dd4d4-ce7c-493a-9402-a0ed3a5c24bd" providerId="ADAL" clId="{C46E89DA-7211-4BC2-8D98-0636D74B2FBC}" dt="2026-05-08T13:31:53.236" v="6054"/>
          <ac:spMkLst>
            <pc:docMk/>
            <pc:sldMk cId="3993737009" sldId="708"/>
            <ac:spMk id="23" creationId="{A7573B45-B38B-32E1-08CC-E844F97C0ABD}"/>
          </ac:spMkLst>
        </pc:spChg>
        <pc:spChg chg="mod">
          <ac:chgData name="Di Giovanni, Jacopo" userId="1c0dd4d4-ce7c-493a-9402-a0ed3a5c24bd" providerId="ADAL" clId="{C46E89DA-7211-4BC2-8D98-0636D74B2FBC}" dt="2026-05-08T13:43:32.068" v="6077" actId="2711"/>
          <ac:spMkLst>
            <pc:docMk/>
            <pc:sldMk cId="3993737009" sldId="708"/>
            <ac:spMk id="28" creationId="{C2DCE16C-810A-3305-2D46-052B127166DE}"/>
          </ac:spMkLst>
        </pc:spChg>
        <pc:spChg chg="mod">
          <ac:chgData name="Di Giovanni, Jacopo" userId="1c0dd4d4-ce7c-493a-9402-a0ed3a5c24bd" providerId="ADAL" clId="{C46E89DA-7211-4BC2-8D98-0636D74B2FBC}" dt="2026-05-08T13:39:27.414" v="6058" actId="1076"/>
          <ac:spMkLst>
            <pc:docMk/>
            <pc:sldMk cId="3993737009" sldId="708"/>
            <ac:spMk id="34" creationId="{51F9651A-4A41-7433-9EDD-785A7AA0796D}"/>
          </ac:spMkLst>
        </pc:spChg>
        <pc:spChg chg="mod">
          <ac:chgData name="Di Giovanni, Jacopo" userId="1c0dd4d4-ce7c-493a-9402-a0ed3a5c24bd" providerId="ADAL" clId="{C46E89DA-7211-4BC2-8D98-0636D74B2FBC}" dt="2026-05-08T13:43:19.698" v="6075" actId="2711"/>
          <ac:spMkLst>
            <pc:docMk/>
            <pc:sldMk cId="3993737009" sldId="708"/>
            <ac:spMk id="35" creationId="{BFAA5AFB-3DE9-046F-C6E9-23D70DD52099}"/>
          </ac:spMkLst>
        </pc:spChg>
        <pc:spChg chg="mod">
          <ac:chgData name="Di Giovanni, Jacopo" userId="1c0dd4d4-ce7c-493a-9402-a0ed3a5c24bd" providerId="ADAL" clId="{C46E89DA-7211-4BC2-8D98-0636D74B2FBC}" dt="2026-05-08T13:31:53.236" v="6054"/>
          <ac:spMkLst>
            <pc:docMk/>
            <pc:sldMk cId="3993737009" sldId="708"/>
            <ac:spMk id="36" creationId="{811163E6-2400-5367-A4CE-D819560F94D9}"/>
          </ac:spMkLst>
        </pc:spChg>
        <pc:spChg chg="mod">
          <ac:chgData name="Di Giovanni, Jacopo" userId="1c0dd4d4-ce7c-493a-9402-a0ed3a5c24bd" providerId="ADAL" clId="{C46E89DA-7211-4BC2-8D98-0636D74B2FBC}" dt="2026-05-11T08:57:00.931" v="6927" actId="20577"/>
          <ac:spMkLst>
            <pc:docMk/>
            <pc:sldMk cId="3993737009" sldId="708"/>
            <ac:spMk id="37" creationId="{83A3752B-5ECA-A075-46DB-C22EA2605A6D}"/>
          </ac:spMkLst>
        </pc:spChg>
        <pc:spChg chg="mod">
          <ac:chgData name="Di Giovanni, Jacopo" userId="1c0dd4d4-ce7c-493a-9402-a0ed3a5c24bd" providerId="ADAL" clId="{C46E89DA-7211-4BC2-8D98-0636D74B2FBC}" dt="2026-05-08T13:43:25.457" v="6076" actId="2711"/>
          <ac:spMkLst>
            <pc:docMk/>
            <pc:sldMk cId="3993737009" sldId="708"/>
            <ac:spMk id="38" creationId="{728F627D-FEC0-11E9-8699-B7E085D25DC4}"/>
          </ac:spMkLst>
        </pc:spChg>
        <pc:spChg chg="mod">
          <ac:chgData name="Di Giovanni, Jacopo" userId="1c0dd4d4-ce7c-493a-9402-a0ed3a5c24bd" providerId="ADAL" clId="{C46E89DA-7211-4BC2-8D98-0636D74B2FBC}" dt="2026-05-08T13:32:11.894" v="6057" actId="20577"/>
          <ac:spMkLst>
            <pc:docMk/>
            <pc:sldMk cId="3993737009" sldId="708"/>
            <ac:spMk id="40" creationId="{8EBE9EE0-8F7A-74FE-C69C-D0E976CD24BE}"/>
          </ac:spMkLst>
        </pc:spChg>
        <pc:spChg chg="mod">
          <ac:chgData name="Di Giovanni, Jacopo" userId="1c0dd4d4-ce7c-493a-9402-a0ed3a5c24bd" providerId="ADAL" clId="{C46E89DA-7211-4BC2-8D98-0636D74B2FBC}" dt="2026-05-08T13:43:37.890" v="6078" actId="2711"/>
          <ac:spMkLst>
            <pc:docMk/>
            <pc:sldMk cId="3993737009" sldId="708"/>
            <ac:spMk id="41" creationId="{1167F330-37E1-DC03-1F8C-1E1A066B5436}"/>
          </ac:spMkLst>
        </pc:spChg>
        <pc:spChg chg="mod">
          <ac:chgData name="Di Giovanni, Jacopo" userId="1c0dd4d4-ce7c-493a-9402-a0ed3a5c24bd" providerId="ADAL" clId="{C46E89DA-7211-4BC2-8D98-0636D74B2FBC}" dt="2026-05-08T13:31:53.236" v="6054"/>
          <ac:spMkLst>
            <pc:docMk/>
            <pc:sldMk cId="3993737009" sldId="708"/>
            <ac:spMk id="42" creationId="{AA6267F6-E0EA-7D4F-1D06-4E99B11463DD}"/>
          </ac:spMkLst>
        </pc:spChg>
        <pc:spChg chg="mod">
          <ac:chgData name="Di Giovanni, Jacopo" userId="1c0dd4d4-ce7c-493a-9402-a0ed3a5c24bd" providerId="ADAL" clId="{C46E89DA-7211-4BC2-8D98-0636D74B2FBC}" dt="2026-05-08T13:31:53.236" v="6054"/>
          <ac:spMkLst>
            <pc:docMk/>
            <pc:sldMk cId="3993737009" sldId="708"/>
            <ac:spMk id="43" creationId="{8ABA88F7-8593-E182-42F7-D0C2E9BBC076}"/>
          </ac:spMkLst>
        </pc:spChg>
        <pc:spChg chg="mod">
          <ac:chgData name="Di Giovanni, Jacopo" userId="1c0dd4d4-ce7c-493a-9402-a0ed3a5c24bd" providerId="ADAL" clId="{C46E89DA-7211-4BC2-8D98-0636D74B2FBC}" dt="2026-05-08T13:43:43.667" v="6079" actId="2711"/>
          <ac:spMkLst>
            <pc:docMk/>
            <pc:sldMk cId="3993737009" sldId="708"/>
            <ac:spMk id="44" creationId="{7FF0D572-9EA5-5A2C-8CF3-B339D2AFCBF0}"/>
          </ac:spMkLst>
        </pc:spChg>
        <pc:spChg chg="mod">
          <ac:chgData name="Di Giovanni, Jacopo" userId="1c0dd4d4-ce7c-493a-9402-a0ed3a5c24bd" providerId="ADAL" clId="{C46E89DA-7211-4BC2-8D98-0636D74B2FBC}" dt="2026-05-08T13:31:53.236" v="6054"/>
          <ac:spMkLst>
            <pc:docMk/>
            <pc:sldMk cId="3993737009" sldId="708"/>
            <ac:spMk id="45" creationId="{E07B85C9-ACD7-892E-81FD-E92512031B7C}"/>
          </ac:spMkLst>
        </pc:spChg>
        <pc:spChg chg="add mod">
          <ac:chgData name="Di Giovanni, Jacopo" userId="1c0dd4d4-ce7c-493a-9402-a0ed3a5c24bd" providerId="ADAL" clId="{C46E89DA-7211-4BC2-8D98-0636D74B2FBC}" dt="2026-05-08T13:41:11.834" v="6070" actId="1076"/>
          <ac:spMkLst>
            <pc:docMk/>
            <pc:sldMk cId="3993737009" sldId="708"/>
            <ac:spMk id="47" creationId="{08ADC25F-2476-9AE6-D362-AC7248CE077C}"/>
          </ac:spMkLst>
        </pc:spChg>
        <pc:spChg chg="mod">
          <ac:chgData name="Di Giovanni, Jacopo" userId="1c0dd4d4-ce7c-493a-9402-a0ed3a5c24bd" providerId="ADAL" clId="{C46E89DA-7211-4BC2-8D98-0636D74B2FBC}" dt="2026-05-08T13:14:54.204" v="6017" actId="207"/>
          <ac:spMkLst>
            <pc:docMk/>
            <pc:sldMk cId="3993737009" sldId="708"/>
            <ac:spMk id="51" creationId="{FD1C4070-314F-4772-9EB8-B8399D6F0F2B}"/>
          </ac:spMkLst>
        </pc:spChg>
        <pc:spChg chg="mod">
          <ac:chgData name="Di Giovanni, Jacopo" userId="1c0dd4d4-ce7c-493a-9402-a0ed3a5c24bd" providerId="ADAL" clId="{C46E89DA-7211-4BC2-8D98-0636D74B2FBC}" dt="2026-05-08T13:14:59.421" v="6018" actId="207"/>
          <ac:spMkLst>
            <pc:docMk/>
            <pc:sldMk cId="3993737009" sldId="708"/>
            <ac:spMk id="52" creationId="{64422462-229F-A403-BB6A-1E9571F05D51}"/>
          </ac:spMkLst>
        </pc:spChg>
        <pc:grpChg chg="mod">
          <ac:chgData name="Di Giovanni, Jacopo" userId="1c0dd4d4-ce7c-493a-9402-a0ed3a5c24bd" providerId="ADAL" clId="{C46E89DA-7211-4BC2-8D98-0636D74B2FBC}" dt="2026-05-08T13:31:59.413" v="6055" actId="1076"/>
          <ac:grpSpMkLst>
            <pc:docMk/>
            <pc:sldMk cId="3993737009" sldId="708"/>
            <ac:grpSpMk id="21" creationId="{D8E161E7-EA3E-8BA6-4579-8433BD26EE32}"/>
          </ac:grpSpMkLst>
        </pc:grpChg>
        <pc:graphicFrameChg chg="add mod">
          <ac:chgData name="Di Giovanni, Jacopo" userId="1c0dd4d4-ce7c-493a-9402-a0ed3a5c24bd" providerId="ADAL" clId="{C46E89DA-7211-4BC2-8D98-0636D74B2FBC}" dt="2026-05-08T16:14:04.266" v="6346" actId="207"/>
          <ac:graphicFrameMkLst>
            <pc:docMk/>
            <pc:sldMk cId="3993737009" sldId="708"/>
            <ac:graphicFrameMk id="24" creationId="{6B44B656-0640-FFE8-DDD1-35CF8015DF1E}"/>
          </ac:graphicFrameMkLst>
        </pc:graphicFrameChg>
      </pc:sldChg>
      <pc:sldChg chg="addSp delSp modSp add mod">
        <pc:chgData name="Di Giovanni, Jacopo" userId="1c0dd4d4-ce7c-493a-9402-a0ed3a5c24bd" providerId="ADAL" clId="{C46E89DA-7211-4BC2-8D98-0636D74B2FBC}" dt="2026-05-08T15:28:19.351" v="6220" actId="20577"/>
        <pc:sldMkLst>
          <pc:docMk/>
          <pc:sldMk cId="1289130398" sldId="709"/>
        </pc:sldMkLst>
        <pc:spChg chg="mod">
          <ac:chgData name="Di Giovanni, Jacopo" userId="1c0dd4d4-ce7c-493a-9402-a0ed3a5c24bd" providerId="ADAL" clId="{C46E89DA-7211-4BC2-8D98-0636D74B2FBC}" dt="2026-05-08T15:28:19.351" v="6220" actId="20577"/>
          <ac:spMkLst>
            <pc:docMk/>
            <pc:sldMk cId="1289130398" sldId="709"/>
            <ac:spMk id="5" creationId="{751CB66A-742E-48AE-4A47-45DB153E5474}"/>
          </ac:spMkLst>
        </pc:spChg>
        <pc:spChg chg="mod">
          <ac:chgData name="Di Giovanni, Jacopo" userId="1c0dd4d4-ce7c-493a-9402-a0ed3a5c24bd" providerId="ADAL" clId="{C46E89DA-7211-4BC2-8D98-0636D74B2FBC}" dt="2026-05-08T14:56:36.578" v="6187" actId="2711"/>
          <ac:spMkLst>
            <pc:docMk/>
            <pc:sldMk cId="1289130398" sldId="709"/>
            <ac:spMk id="12" creationId="{A311D808-A74A-948F-856F-CBA1C58C3BC9}"/>
          </ac:spMkLst>
        </pc:spChg>
        <pc:spChg chg="mod">
          <ac:chgData name="Di Giovanni, Jacopo" userId="1c0dd4d4-ce7c-493a-9402-a0ed3a5c24bd" providerId="ADAL" clId="{C46E89DA-7211-4BC2-8D98-0636D74B2FBC}" dt="2026-05-08T14:57:14.143" v="6198" actId="1076"/>
          <ac:spMkLst>
            <pc:docMk/>
            <pc:sldMk cId="1289130398" sldId="709"/>
            <ac:spMk id="15" creationId="{A6D492BE-8BBE-68C9-ACFB-94889BFD552E}"/>
          </ac:spMkLst>
        </pc:spChg>
        <pc:spChg chg="mod">
          <ac:chgData name="Di Giovanni, Jacopo" userId="1c0dd4d4-ce7c-493a-9402-a0ed3a5c24bd" providerId="ADAL" clId="{C46E89DA-7211-4BC2-8D98-0636D74B2FBC}" dt="2026-04-28T10:53:32.528" v="2183" actId="20577"/>
          <ac:spMkLst>
            <pc:docMk/>
            <pc:sldMk cId="1289130398" sldId="709"/>
            <ac:spMk id="17" creationId="{F6754FDE-BB1B-EA45-167E-9294E2003880}"/>
          </ac:spMkLst>
        </pc:spChg>
        <pc:spChg chg="mod">
          <ac:chgData name="Di Giovanni, Jacopo" userId="1c0dd4d4-ce7c-493a-9402-a0ed3a5c24bd" providerId="ADAL" clId="{C46E89DA-7211-4BC2-8D98-0636D74B2FBC}" dt="2026-05-08T14:56:59.482" v="6196" actId="2711"/>
          <ac:spMkLst>
            <pc:docMk/>
            <pc:sldMk cId="1289130398" sldId="709"/>
            <ac:spMk id="18" creationId="{E6F939D8-E51D-7BEE-B41F-2B739AA01506}"/>
          </ac:spMkLst>
        </pc:spChg>
        <pc:spChg chg="mod">
          <ac:chgData name="Di Giovanni, Jacopo" userId="1c0dd4d4-ce7c-493a-9402-a0ed3a5c24bd" providerId="ADAL" clId="{C46E89DA-7211-4BC2-8D98-0636D74B2FBC}" dt="2026-05-08T15:27:45.839" v="6217" actId="255"/>
          <ac:spMkLst>
            <pc:docMk/>
            <pc:sldMk cId="1289130398" sldId="709"/>
            <ac:spMk id="19" creationId="{1AD70E14-56AF-7F2C-0BCB-678863830C70}"/>
          </ac:spMkLst>
        </pc:spChg>
        <pc:spChg chg="mod">
          <ac:chgData name="Di Giovanni, Jacopo" userId="1c0dd4d4-ce7c-493a-9402-a0ed3a5c24bd" providerId="ADAL" clId="{C46E89DA-7211-4BC2-8D98-0636D74B2FBC}" dt="2026-04-28T11:03:46.388" v="2245" actId="164"/>
          <ac:spMkLst>
            <pc:docMk/>
            <pc:sldMk cId="1289130398" sldId="709"/>
            <ac:spMk id="25" creationId="{80414EB0-0C7E-C135-BBA3-4F6DCC84A8E7}"/>
          </ac:spMkLst>
        </pc:spChg>
        <pc:spChg chg="mod">
          <ac:chgData name="Di Giovanni, Jacopo" userId="1c0dd4d4-ce7c-493a-9402-a0ed3a5c24bd" providerId="ADAL" clId="{C46E89DA-7211-4BC2-8D98-0636D74B2FBC}" dt="2026-05-08T14:57:06.381" v="6197" actId="1076"/>
          <ac:spMkLst>
            <pc:docMk/>
            <pc:sldMk cId="1289130398" sldId="709"/>
            <ac:spMk id="26" creationId="{3CE87851-D0F2-3A70-5F5D-B25DA5D15D99}"/>
          </ac:spMkLst>
        </pc:spChg>
        <pc:spChg chg="mod">
          <ac:chgData name="Di Giovanni, Jacopo" userId="1c0dd4d4-ce7c-493a-9402-a0ed3a5c24bd" providerId="ADAL" clId="{C46E89DA-7211-4BC2-8D98-0636D74B2FBC}" dt="2026-04-28T11:03:46.388" v="2245" actId="164"/>
          <ac:spMkLst>
            <pc:docMk/>
            <pc:sldMk cId="1289130398" sldId="709"/>
            <ac:spMk id="27" creationId="{E4FEA394-934F-1B93-3A0C-7C47E3B7D52F}"/>
          </ac:spMkLst>
        </pc:spChg>
        <pc:spChg chg="mod">
          <ac:chgData name="Di Giovanni, Jacopo" userId="1c0dd4d4-ce7c-493a-9402-a0ed3a5c24bd" providerId="ADAL" clId="{C46E89DA-7211-4BC2-8D98-0636D74B2FBC}" dt="2026-05-08T14:57:27.415" v="6199" actId="2711"/>
          <ac:spMkLst>
            <pc:docMk/>
            <pc:sldMk cId="1289130398" sldId="709"/>
            <ac:spMk id="32" creationId="{2CB064F9-5B4D-1595-6243-9D667C625D3A}"/>
          </ac:spMkLst>
        </pc:spChg>
        <pc:spChg chg="mod">
          <ac:chgData name="Di Giovanni, Jacopo" userId="1c0dd4d4-ce7c-493a-9402-a0ed3a5c24bd" providerId="ADAL" clId="{C46E89DA-7211-4BC2-8D98-0636D74B2FBC}" dt="2026-05-08T15:28:07.166" v="6219" actId="255"/>
          <ac:spMkLst>
            <pc:docMk/>
            <pc:sldMk cId="1289130398" sldId="709"/>
            <ac:spMk id="52" creationId="{E7666AE7-A521-54A5-B845-5CBD24DA0402}"/>
          </ac:spMkLst>
        </pc:spChg>
        <pc:graphicFrameChg chg="add mod">
          <ac:chgData name="Di Giovanni, Jacopo" userId="1c0dd4d4-ce7c-493a-9402-a0ed3a5c24bd" providerId="ADAL" clId="{C46E89DA-7211-4BC2-8D98-0636D74B2FBC}" dt="2026-05-08T14:10:37.512" v="6138" actId="113"/>
          <ac:graphicFrameMkLst>
            <pc:docMk/>
            <pc:sldMk cId="1289130398" sldId="709"/>
            <ac:graphicFrameMk id="7" creationId="{97E710D1-018B-91E5-3788-1440E960FCDB}"/>
          </ac:graphicFrameMkLst>
        </pc:graphicFrameChg>
      </pc:sldChg>
      <pc:sldChg chg="addSp delSp modSp add mod">
        <pc:chgData name="Di Giovanni, Jacopo" userId="1c0dd4d4-ce7c-493a-9402-a0ed3a5c24bd" providerId="ADAL" clId="{C46E89DA-7211-4BC2-8D98-0636D74B2FBC}" dt="2026-05-11T08:58:53.199" v="6929" actId="478"/>
        <pc:sldMkLst>
          <pc:docMk/>
          <pc:sldMk cId="2086456195" sldId="710"/>
        </pc:sldMkLst>
        <pc:spChg chg="mod">
          <ac:chgData name="Di Giovanni, Jacopo" userId="1c0dd4d4-ce7c-493a-9402-a0ed3a5c24bd" providerId="ADAL" clId="{C46E89DA-7211-4BC2-8D98-0636D74B2FBC}" dt="2026-05-08T14:00:30.383" v="6094" actId="13926"/>
          <ac:spMkLst>
            <pc:docMk/>
            <pc:sldMk cId="2086456195" sldId="710"/>
            <ac:spMk id="3" creationId="{3B4A3F59-8E5A-3614-B72C-99980FE62204}"/>
          </ac:spMkLst>
        </pc:spChg>
        <pc:spChg chg="mod">
          <ac:chgData name="Di Giovanni, Jacopo" userId="1c0dd4d4-ce7c-493a-9402-a0ed3a5c24bd" providerId="ADAL" clId="{C46E89DA-7211-4BC2-8D98-0636D74B2FBC}" dt="2026-05-08T13:59:23.021" v="6088" actId="207"/>
          <ac:spMkLst>
            <pc:docMk/>
            <pc:sldMk cId="2086456195" sldId="710"/>
            <ac:spMk id="5" creationId="{2BF4F4EE-F885-D741-F680-9CD58E78F543}"/>
          </ac:spMkLst>
        </pc:spChg>
        <pc:spChg chg="mod">
          <ac:chgData name="Di Giovanni, Jacopo" userId="1c0dd4d4-ce7c-493a-9402-a0ed3a5c24bd" providerId="ADAL" clId="{C46E89DA-7211-4BC2-8D98-0636D74B2FBC}" dt="2026-05-08T13:59:36.386" v="6090" actId="208"/>
          <ac:spMkLst>
            <pc:docMk/>
            <pc:sldMk cId="2086456195" sldId="710"/>
            <ac:spMk id="11" creationId="{5A4A704D-FDA3-3D7C-D9AD-F9118B06BE1D}"/>
          </ac:spMkLst>
        </pc:spChg>
        <pc:spChg chg="add del mod">
          <ac:chgData name="Di Giovanni, Jacopo" userId="1c0dd4d4-ce7c-493a-9402-a0ed3a5c24bd" providerId="ADAL" clId="{C46E89DA-7211-4BC2-8D98-0636D74B2FBC}" dt="2026-05-11T08:58:53.199" v="6929" actId="478"/>
          <ac:spMkLst>
            <pc:docMk/>
            <pc:sldMk cId="2086456195" sldId="710"/>
            <ac:spMk id="12" creationId="{624621D8-EE56-A104-BFE9-C992275225E7}"/>
          </ac:spMkLst>
        </pc:spChg>
        <pc:spChg chg="mod">
          <ac:chgData name="Di Giovanni, Jacopo" userId="1c0dd4d4-ce7c-493a-9402-a0ed3a5c24bd" providerId="ADAL" clId="{C46E89DA-7211-4BC2-8D98-0636D74B2FBC}" dt="2026-05-08T10:08:30.862" v="5916" actId="20577"/>
          <ac:spMkLst>
            <pc:docMk/>
            <pc:sldMk cId="2086456195" sldId="710"/>
            <ac:spMk id="14" creationId="{A28BD9BC-BF67-C5E2-8620-6EB910733E66}"/>
          </ac:spMkLst>
        </pc:spChg>
        <pc:spChg chg="mod">
          <ac:chgData name="Di Giovanni, Jacopo" userId="1c0dd4d4-ce7c-493a-9402-a0ed3a5c24bd" providerId="ADAL" clId="{C46E89DA-7211-4BC2-8D98-0636D74B2FBC}" dt="2026-05-08T14:01:31.829" v="6105" actId="2711"/>
          <ac:spMkLst>
            <pc:docMk/>
            <pc:sldMk cId="2086456195" sldId="710"/>
            <ac:spMk id="15" creationId="{D2D15DDB-C156-B39C-AA91-EA47D599ADBA}"/>
          </ac:spMkLst>
        </pc:spChg>
        <pc:spChg chg="mod">
          <ac:chgData name="Di Giovanni, Jacopo" userId="1c0dd4d4-ce7c-493a-9402-a0ed3a5c24bd" providerId="ADAL" clId="{C46E89DA-7211-4BC2-8D98-0636D74B2FBC}" dt="2026-04-29T10:29:45.206" v="3695" actId="20577"/>
          <ac:spMkLst>
            <pc:docMk/>
            <pc:sldMk cId="2086456195" sldId="710"/>
            <ac:spMk id="17" creationId="{CA2F8E90-D9B8-5360-DA05-BC2C04C02625}"/>
          </ac:spMkLst>
        </pc:spChg>
        <pc:spChg chg="mod">
          <ac:chgData name="Di Giovanni, Jacopo" userId="1c0dd4d4-ce7c-493a-9402-a0ed3a5c24bd" providerId="ADAL" clId="{C46E89DA-7211-4BC2-8D98-0636D74B2FBC}" dt="2026-05-08T14:01:51.046" v="6109" actId="2711"/>
          <ac:spMkLst>
            <pc:docMk/>
            <pc:sldMk cId="2086456195" sldId="710"/>
            <ac:spMk id="18" creationId="{A12E482D-A8A0-FDA4-B07E-1BB2FF67DD79}"/>
          </ac:spMkLst>
        </pc:spChg>
        <pc:spChg chg="mod">
          <ac:chgData name="Di Giovanni, Jacopo" userId="1c0dd4d4-ce7c-493a-9402-a0ed3a5c24bd" providerId="ADAL" clId="{C46E89DA-7211-4BC2-8D98-0636D74B2FBC}" dt="2026-05-08T14:09:33.661" v="6126" actId="2711"/>
          <ac:spMkLst>
            <pc:docMk/>
            <pc:sldMk cId="2086456195" sldId="710"/>
            <ac:spMk id="19" creationId="{0BD89DA3-2D4B-A024-5799-4B2B8E57F24C}"/>
          </ac:spMkLst>
        </pc:spChg>
        <pc:spChg chg="mod">
          <ac:chgData name="Di Giovanni, Jacopo" userId="1c0dd4d4-ce7c-493a-9402-a0ed3a5c24bd" providerId="ADAL" clId="{C46E89DA-7211-4BC2-8D98-0636D74B2FBC}" dt="2026-05-08T14:01:40.898" v="6107" actId="207"/>
          <ac:spMkLst>
            <pc:docMk/>
            <pc:sldMk cId="2086456195" sldId="710"/>
            <ac:spMk id="26" creationId="{F4EE6733-3E81-1EFD-6C9C-0D7F1F346D37}"/>
          </ac:spMkLst>
        </pc:spChg>
        <pc:spChg chg="mod">
          <ac:chgData name="Di Giovanni, Jacopo" userId="1c0dd4d4-ce7c-493a-9402-a0ed3a5c24bd" providerId="ADAL" clId="{C46E89DA-7211-4BC2-8D98-0636D74B2FBC}" dt="2026-05-08T13:59:36.386" v="6090" actId="208"/>
          <ac:spMkLst>
            <pc:docMk/>
            <pc:sldMk cId="2086456195" sldId="710"/>
            <ac:spMk id="27" creationId="{FD77CB24-5FBC-50AE-BA2A-47FD386D8CCE}"/>
          </ac:spMkLst>
        </pc:spChg>
        <pc:spChg chg="mod">
          <ac:chgData name="Di Giovanni, Jacopo" userId="1c0dd4d4-ce7c-493a-9402-a0ed3a5c24bd" providerId="ADAL" clId="{C46E89DA-7211-4BC2-8D98-0636D74B2FBC}" dt="2026-05-08T13:59:36.386" v="6090" actId="208"/>
          <ac:spMkLst>
            <pc:docMk/>
            <pc:sldMk cId="2086456195" sldId="710"/>
            <ac:spMk id="29" creationId="{F728B63E-B3AA-22E0-C4B2-0E570C461764}"/>
          </ac:spMkLst>
        </pc:spChg>
        <pc:spChg chg="mod">
          <ac:chgData name="Di Giovanni, Jacopo" userId="1c0dd4d4-ce7c-493a-9402-a0ed3a5c24bd" providerId="ADAL" clId="{C46E89DA-7211-4BC2-8D98-0636D74B2FBC}" dt="2026-05-08T13:59:36.386" v="6090" actId="208"/>
          <ac:spMkLst>
            <pc:docMk/>
            <pc:sldMk cId="2086456195" sldId="710"/>
            <ac:spMk id="30" creationId="{224C7B7B-11A6-DF75-CA5B-715670F40F6E}"/>
          </ac:spMkLst>
        </pc:spChg>
        <pc:spChg chg="mod">
          <ac:chgData name="Di Giovanni, Jacopo" userId="1c0dd4d4-ce7c-493a-9402-a0ed3a5c24bd" providerId="ADAL" clId="{C46E89DA-7211-4BC2-8D98-0636D74B2FBC}" dt="2026-05-08T14:02:02.312" v="6111" actId="207"/>
          <ac:spMkLst>
            <pc:docMk/>
            <pc:sldMk cId="2086456195" sldId="710"/>
            <ac:spMk id="32" creationId="{BB97B4EA-D15A-EB8B-6F03-28DC1EA365C6}"/>
          </ac:spMkLst>
        </pc:spChg>
        <pc:spChg chg="mod">
          <ac:chgData name="Di Giovanni, Jacopo" userId="1c0dd4d4-ce7c-493a-9402-a0ed3a5c24bd" providerId="ADAL" clId="{C46E89DA-7211-4BC2-8D98-0636D74B2FBC}" dt="2026-05-08T13:59:36.386" v="6090" actId="208"/>
          <ac:spMkLst>
            <pc:docMk/>
            <pc:sldMk cId="2086456195" sldId="710"/>
            <ac:spMk id="33" creationId="{C576019F-8BB3-B149-CF1E-8229BBB42031}"/>
          </ac:spMkLst>
        </pc:spChg>
        <pc:spChg chg="mod">
          <ac:chgData name="Di Giovanni, Jacopo" userId="1c0dd4d4-ce7c-493a-9402-a0ed3a5c24bd" providerId="ADAL" clId="{C46E89DA-7211-4BC2-8D98-0636D74B2FBC}" dt="2026-05-08T13:59:36.386" v="6090" actId="208"/>
          <ac:spMkLst>
            <pc:docMk/>
            <pc:sldMk cId="2086456195" sldId="710"/>
            <ac:spMk id="49" creationId="{B829041D-5A72-F6D8-9B44-3C49EA95F98E}"/>
          </ac:spMkLst>
        </pc:spChg>
        <pc:graphicFrameChg chg="add mod">
          <ac:chgData name="Di Giovanni, Jacopo" userId="1c0dd4d4-ce7c-493a-9402-a0ed3a5c24bd" providerId="ADAL" clId="{C46E89DA-7211-4BC2-8D98-0636D74B2FBC}" dt="2026-05-08T15:29:57.097" v="6223" actId="1076"/>
          <ac:graphicFrameMkLst>
            <pc:docMk/>
            <pc:sldMk cId="2086456195" sldId="710"/>
            <ac:graphicFrameMk id="7" creationId="{E18F7684-2C1D-0F0B-A8C9-AAE6673FEF44}"/>
          </ac:graphicFrameMkLst>
        </pc:graphicFrameChg>
      </pc:sldChg>
      <pc:sldChg chg="addSp delSp modSp add mod">
        <pc:chgData name="Di Giovanni, Jacopo" userId="1c0dd4d4-ce7c-493a-9402-a0ed3a5c24bd" providerId="ADAL" clId="{C46E89DA-7211-4BC2-8D98-0636D74B2FBC}" dt="2026-05-08T15:41:22.265" v="6252"/>
        <pc:sldMkLst>
          <pc:docMk/>
          <pc:sldMk cId="89833404" sldId="711"/>
        </pc:sldMkLst>
        <pc:spChg chg="mod">
          <ac:chgData name="Di Giovanni, Jacopo" userId="1c0dd4d4-ce7c-493a-9402-a0ed3a5c24bd" providerId="ADAL" clId="{C46E89DA-7211-4BC2-8D98-0636D74B2FBC}" dt="2026-05-08T15:40:56.406" v="6245" actId="14100"/>
          <ac:spMkLst>
            <pc:docMk/>
            <pc:sldMk cId="89833404" sldId="711"/>
            <ac:spMk id="2" creationId="{D2A04F9B-C0E6-1C59-96BD-7B0ECB12FF45}"/>
          </ac:spMkLst>
        </pc:spChg>
        <pc:spChg chg="mod">
          <ac:chgData name="Di Giovanni, Jacopo" userId="1c0dd4d4-ce7c-493a-9402-a0ed3a5c24bd" providerId="ADAL" clId="{C46E89DA-7211-4BC2-8D98-0636D74B2FBC}" dt="2026-05-08T14:17:13.240" v="6142" actId="207"/>
          <ac:spMkLst>
            <pc:docMk/>
            <pc:sldMk cId="89833404" sldId="711"/>
            <ac:spMk id="5" creationId="{BAE7336E-7BD5-1FBC-C7A8-63087133D6D7}"/>
          </ac:spMkLst>
        </pc:spChg>
        <pc:spChg chg="mod">
          <ac:chgData name="Di Giovanni, Jacopo" userId="1c0dd4d4-ce7c-493a-9402-a0ed3a5c24bd" providerId="ADAL" clId="{C46E89DA-7211-4BC2-8D98-0636D74B2FBC}" dt="2026-05-08T14:22:44.304" v="6155" actId="208"/>
          <ac:spMkLst>
            <pc:docMk/>
            <pc:sldMk cId="89833404" sldId="711"/>
            <ac:spMk id="11" creationId="{8A72E347-A63A-1D3F-AAD1-92E0EF354C68}"/>
          </ac:spMkLst>
        </pc:spChg>
        <pc:spChg chg="mod">
          <ac:chgData name="Di Giovanni, Jacopo" userId="1c0dd4d4-ce7c-493a-9402-a0ed3a5c24bd" providerId="ADAL" clId="{C46E89DA-7211-4BC2-8D98-0636D74B2FBC}" dt="2026-05-08T14:25:09.063" v="6162" actId="2711"/>
          <ac:spMkLst>
            <pc:docMk/>
            <pc:sldMk cId="89833404" sldId="711"/>
            <ac:spMk id="12" creationId="{8A5CED71-FE41-BA5E-76FD-844C2D260A5F}"/>
          </ac:spMkLst>
        </pc:spChg>
        <pc:spChg chg="mod">
          <ac:chgData name="Di Giovanni, Jacopo" userId="1c0dd4d4-ce7c-493a-9402-a0ed3a5c24bd" providerId="ADAL" clId="{C46E89DA-7211-4BC2-8D98-0636D74B2FBC}" dt="2026-05-08T14:22:56.957" v="6156" actId="208"/>
          <ac:spMkLst>
            <pc:docMk/>
            <pc:sldMk cId="89833404" sldId="711"/>
            <ac:spMk id="13" creationId="{3CF4FE4D-5974-A967-09EF-48EE2CE19057}"/>
          </ac:spMkLst>
        </pc:spChg>
        <pc:spChg chg="mod">
          <ac:chgData name="Di Giovanni, Jacopo" userId="1c0dd4d4-ce7c-493a-9402-a0ed3a5c24bd" providerId="ADAL" clId="{C46E89DA-7211-4BC2-8D98-0636D74B2FBC}" dt="2026-05-08T15:35:39.623" v="6237" actId="255"/>
          <ac:spMkLst>
            <pc:docMk/>
            <pc:sldMk cId="89833404" sldId="711"/>
            <ac:spMk id="14" creationId="{330160E1-E231-AF5A-F10E-CD12921BD1AE}"/>
          </ac:spMkLst>
        </pc:spChg>
        <pc:spChg chg="mod">
          <ac:chgData name="Di Giovanni, Jacopo" userId="1c0dd4d4-ce7c-493a-9402-a0ed3a5c24bd" providerId="ADAL" clId="{C46E89DA-7211-4BC2-8D98-0636D74B2FBC}" dt="2026-05-08T14:32:02.158" v="6172" actId="207"/>
          <ac:spMkLst>
            <pc:docMk/>
            <pc:sldMk cId="89833404" sldId="711"/>
            <ac:spMk id="15" creationId="{D5D597FD-5D41-166A-D7E1-897D9E742497}"/>
          </ac:spMkLst>
        </pc:spChg>
        <pc:spChg chg="mod">
          <ac:chgData name="Di Giovanni, Jacopo" userId="1c0dd4d4-ce7c-493a-9402-a0ed3a5c24bd" providerId="ADAL" clId="{C46E89DA-7211-4BC2-8D98-0636D74B2FBC}" dt="2026-05-08T14:25:14.622" v="6163" actId="208"/>
          <ac:spMkLst>
            <pc:docMk/>
            <pc:sldMk cId="89833404" sldId="711"/>
            <ac:spMk id="16" creationId="{65449B0E-C001-9505-A3DD-C17F821D6FB8}"/>
          </ac:spMkLst>
        </pc:spChg>
        <pc:spChg chg="mod">
          <ac:chgData name="Di Giovanni, Jacopo" userId="1c0dd4d4-ce7c-493a-9402-a0ed3a5c24bd" providerId="ADAL" clId="{C46E89DA-7211-4BC2-8D98-0636D74B2FBC}" dt="2026-05-08T15:35:44.391" v="6238" actId="255"/>
          <ac:spMkLst>
            <pc:docMk/>
            <pc:sldMk cId="89833404" sldId="711"/>
            <ac:spMk id="17" creationId="{260DBEDB-E741-A6E0-A4FB-38E09FF046B4}"/>
          </ac:spMkLst>
        </pc:spChg>
        <pc:spChg chg="mod">
          <ac:chgData name="Di Giovanni, Jacopo" userId="1c0dd4d4-ce7c-493a-9402-a0ed3a5c24bd" providerId="ADAL" clId="{C46E89DA-7211-4BC2-8D98-0636D74B2FBC}" dt="2026-05-08T14:32:14.611" v="6175" actId="207"/>
          <ac:spMkLst>
            <pc:docMk/>
            <pc:sldMk cId="89833404" sldId="711"/>
            <ac:spMk id="18" creationId="{3BE4E4A4-001A-A5E4-8325-DFC970BF25C0}"/>
          </ac:spMkLst>
        </pc:spChg>
        <pc:spChg chg="mod">
          <ac:chgData name="Di Giovanni, Jacopo" userId="1c0dd4d4-ce7c-493a-9402-a0ed3a5c24bd" providerId="ADAL" clId="{C46E89DA-7211-4BC2-8D98-0636D74B2FBC}" dt="2026-05-08T14:32:36.705" v="6178" actId="2711"/>
          <ac:spMkLst>
            <pc:docMk/>
            <pc:sldMk cId="89833404" sldId="711"/>
            <ac:spMk id="19" creationId="{DB0E51BA-51C0-3ED5-4082-7CE60B0D5188}"/>
          </ac:spMkLst>
        </pc:spChg>
        <pc:spChg chg="mod">
          <ac:chgData name="Di Giovanni, Jacopo" userId="1c0dd4d4-ce7c-493a-9402-a0ed3a5c24bd" providerId="ADAL" clId="{C46E89DA-7211-4BC2-8D98-0636D74B2FBC}" dt="2026-05-08T14:25:27.286" v="6164" actId="208"/>
          <ac:spMkLst>
            <pc:docMk/>
            <pc:sldMk cId="89833404" sldId="711"/>
            <ac:spMk id="25" creationId="{FA51966F-CD35-DFBE-8281-0124911714DE}"/>
          </ac:spMkLst>
        </pc:spChg>
        <pc:spChg chg="mod">
          <ac:chgData name="Di Giovanni, Jacopo" userId="1c0dd4d4-ce7c-493a-9402-a0ed3a5c24bd" providerId="ADAL" clId="{C46E89DA-7211-4BC2-8D98-0636D74B2FBC}" dt="2026-05-08T14:32:05.827" v="6173" actId="207"/>
          <ac:spMkLst>
            <pc:docMk/>
            <pc:sldMk cId="89833404" sldId="711"/>
            <ac:spMk id="26" creationId="{F2E90ACC-BCE8-A593-B2C1-8BD4F4673397}"/>
          </ac:spMkLst>
        </pc:spChg>
        <pc:spChg chg="mod">
          <ac:chgData name="Di Giovanni, Jacopo" userId="1c0dd4d4-ce7c-493a-9402-a0ed3a5c24bd" providerId="ADAL" clId="{C46E89DA-7211-4BC2-8D98-0636D74B2FBC}" dt="2026-05-08T15:35:52.990" v="6239" actId="255"/>
          <ac:spMkLst>
            <pc:docMk/>
            <pc:sldMk cId="89833404" sldId="711"/>
            <ac:spMk id="27" creationId="{A1DAFD9A-EE95-0AF7-8C84-7A26AB72FBBD}"/>
          </ac:spMkLst>
        </pc:spChg>
        <pc:spChg chg="mod">
          <ac:chgData name="Di Giovanni, Jacopo" userId="1c0dd4d4-ce7c-493a-9402-a0ed3a5c24bd" providerId="ADAL" clId="{C46E89DA-7211-4BC2-8D98-0636D74B2FBC}" dt="2026-05-08T14:25:36.798" v="6165" actId="208"/>
          <ac:spMkLst>
            <pc:docMk/>
            <pc:sldMk cId="89833404" sldId="711"/>
            <ac:spMk id="29" creationId="{37B09DC4-5110-BACE-3C6C-56F9F1855A3A}"/>
          </ac:spMkLst>
        </pc:spChg>
        <pc:spChg chg="mod">
          <ac:chgData name="Di Giovanni, Jacopo" userId="1c0dd4d4-ce7c-493a-9402-a0ed3a5c24bd" providerId="ADAL" clId="{C46E89DA-7211-4BC2-8D98-0636D74B2FBC}" dt="2026-05-08T15:35:58.003" v="6240" actId="255"/>
          <ac:spMkLst>
            <pc:docMk/>
            <pc:sldMk cId="89833404" sldId="711"/>
            <ac:spMk id="30" creationId="{353011C2-D10C-A1B0-9F19-D5B998503BA3}"/>
          </ac:spMkLst>
        </pc:spChg>
        <pc:spChg chg="mod">
          <ac:chgData name="Di Giovanni, Jacopo" userId="1c0dd4d4-ce7c-493a-9402-a0ed3a5c24bd" providerId="ADAL" clId="{C46E89DA-7211-4BC2-8D98-0636D74B2FBC}" dt="2026-05-08T14:32:19.104" v="6176" actId="207"/>
          <ac:spMkLst>
            <pc:docMk/>
            <pc:sldMk cId="89833404" sldId="711"/>
            <ac:spMk id="32" creationId="{3F6E42FB-72F8-9B7A-1006-CA85ED0A834F}"/>
          </ac:spMkLst>
        </pc:spChg>
        <pc:spChg chg="mod">
          <ac:chgData name="Di Giovanni, Jacopo" userId="1c0dd4d4-ce7c-493a-9402-a0ed3a5c24bd" providerId="ADAL" clId="{C46E89DA-7211-4BC2-8D98-0636D74B2FBC}" dt="2026-05-08T14:32:26.369" v="6177" actId="208"/>
          <ac:spMkLst>
            <pc:docMk/>
            <pc:sldMk cId="89833404" sldId="711"/>
            <ac:spMk id="33" creationId="{733DB343-7F86-7803-B889-BA77089CFFC1}"/>
          </ac:spMkLst>
        </pc:spChg>
        <pc:spChg chg="mod">
          <ac:chgData name="Di Giovanni, Jacopo" userId="1c0dd4d4-ce7c-493a-9402-a0ed3a5c24bd" providerId="ADAL" clId="{C46E89DA-7211-4BC2-8D98-0636D74B2FBC}" dt="2026-05-08T15:36:13.298" v="6242" actId="255"/>
          <ac:spMkLst>
            <pc:docMk/>
            <pc:sldMk cId="89833404" sldId="711"/>
            <ac:spMk id="49" creationId="{648CDD1F-343B-C99C-6D18-11B794EF0765}"/>
          </ac:spMkLst>
        </pc:spChg>
        <pc:graphicFrameChg chg="add mod">
          <ac:chgData name="Di Giovanni, Jacopo" userId="1c0dd4d4-ce7c-493a-9402-a0ed3a5c24bd" providerId="ADAL" clId="{C46E89DA-7211-4BC2-8D98-0636D74B2FBC}" dt="2026-05-08T14:31:04.218" v="6167" actId="207"/>
          <ac:graphicFrameMkLst>
            <pc:docMk/>
            <pc:sldMk cId="89833404" sldId="711"/>
            <ac:graphicFrameMk id="7" creationId="{EB9D0C3A-8E2D-28CA-B7AC-249255302363}"/>
          </ac:graphicFrameMkLst>
        </pc:graphicFrameChg>
      </pc:sldChg>
      <pc:sldChg chg="modSp mod">
        <pc:chgData name="Di Giovanni, Jacopo" userId="1c0dd4d4-ce7c-493a-9402-a0ed3a5c24bd" providerId="ADAL" clId="{C46E89DA-7211-4BC2-8D98-0636D74B2FBC}" dt="2026-05-08T14:32:54.666" v="6180" actId="2711"/>
        <pc:sldMkLst>
          <pc:docMk/>
          <pc:sldMk cId="3888305542" sldId="713"/>
        </pc:sldMkLst>
        <pc:spChg chg="mod">
          <ac:chgData name="Di Giovanni, Jacopo" userId="1c0dd4d4-ce7c-493a-9402-a0ed3a5c24bd" providerId="ADAL" clId="{C46E89DA-7211-4BC2-8D98-0636D74B2FBC}" dt="2026-05-08T14:32:54.666" v="6180" actId="2711"/>
          <ac:spMkLst>
            <pc:docMk/>
            <pc:sldMk cId="3888305542" sldId="713"/>
            <ac:spMk id="2" creationId="{B6806F9A-2736-062A-8B35-CFC68674575A}"/>
          </ac:spMkLst>
        </pc:spChg>
      </pc:sldChg>
      <pc:sldChg chg="modSp mod">
        <pc:chgData name="Di Giovanni, Jacopo" userId="1c0dd4d4-ce7c-493a-9402-a0ed3a5c24bd" providerId="ADAL" clId="{C46E89DA-7211-4BC2-8D98-0636D74B2FBC}" dt="2026-05-12T09:21:07.165" v="9059" actId="20577"/>
        <pc:sldMkLst>
          <pc:docMk/>
          <pc:sldMk cId="3505980646" sldId="716"/>
        </pc:sldMkLst>
        <pc:spChg chg="mod">
          <ac:chgData name="Di Giovanni, Jacopo" userId="1c0dd4d4-ce7c-493a-9402-a0ed3a5c24bd" providerId="ADAL" clId="{C46E89DA-7211-4BC2-8D98-0636D74B2FBC}" dt="2026-05-08T13:26:16.997" v="6033" actId="2711"/>
          <ac:spMkLst>
            <pc:docMk/>
            <pc:sldMk cId="3505980646" sldId="716"/>
            <ac:spMk id="5" creationId="{02282CC6-FE1A-C89D-9748-BBEBB9F1E541}"/>
          </ac:spMkLst>
        </pc:spChg>
        <pc:spChg chg="mod">
          <ac:chgData name="Di Giovanni, Jacopo" userId="1c0dd4d4-ce7c-493a-9402-a0ed3a5c24bd" providerId="ADAL" clId="{C46E89DA-7211-4BC2-8D98-0636D74B2FBC}" dt="2026-05-12T09:21:07.165" v="9059" actId="20577"/>
          <ac:spMkLst>
            <pc:docMk/>
            <pc:sldMk cId="3505980646" sldId="716"/>
            <ac:spMk id="10" creationId="{611CD3D0-9F14-1A48-7468-E6ACBF4B0EED}"/>
          </ac:spMkLst>
        </pc:spChg>
      </pc:sldChg>
      <pc:sldChg chg="addSp delSp modSp add del mod ord">
        <pc:chgData name="Di Giovanni, Jacopo" userId="1c0dd4d4-ce7c-493a-9402-a0ed3a5c24bd" providerId="ADAL" clId="{C46E89DA-7211-4BC2-8D98-0636D74B2FBC}" dt="2026-05-12T08:53:54.569" v="8780" actId="47"/>
        <pc:sldMkLst>
          <pc:docMk/>
          <pc:sldMk cId="1765307352" sldId="717"/>
        </pc:sldMkLst>
      </pc:sldChg>
      <pc:sldChg chg="addSp delSp modSp add mod modNotesTx">
        <pc:chgData name="Di Giovanni, Jacopo" userId="1c0dd4d4-ce7c-493a-9402-a0ed3a5c24bd" providerId="ADAL" clId="{C46E89DA-7211-4BC2-8D98-0636D74B2FBC}" dt="2026-05-12T11:18:27.398" v="10535" actId="207"/>
        <pc:sldMkLst>
          <pc:docMk/>
          <pc:sldMk cId="615184241" sldId="718"/>
        </pc:sldMkLst>
        <pc:spChg chg="mod">
          <ac:chgData name="Di Giovanni, Jacopo" userId="1c0dd4d4-ce7c-493a-9402-a0ed3a5c24bd" providerId="ADAL" clId="{C46E89DA-7211-4BC2-8D98-0636D74B2FBC}" dt="2026-05-12T08:54:14.605" v="8784" actId="20577"/>
          <ac:spMkLst>
            <pc:docMk/>
            <pc:sldMk cId="615184241" sldId="718"/>
            <ac:spMk id="4" creationId="{C6FAD8F3-A1A7-E7C4-EB45-F30F68F43457}"/>
          </ac:spMkLst>
        </pc:spChg>
        <pc:spChg chg="add del mod">
          <ac:chgData name="Di Giovanni, Jacopo" userId="1c0dd4d4-ce7c-493a-9402-a0ed3a5c24bd" providerId="ADAL" clId="{C46E89DA-7211-4BC2-8D98-0636D74B2FBC}" dt="2026-05-12T08:33:40.371" v="8641" actId="478"/>
          <ac:spMkLst>
            <pc:docMk/>
            <pc:sldMk cId="615184241" sldId="718"/>
            <ac:spMk id="6" creationId="{BD11183F-EF7B-B7FA-568E-50510FCF88C9}"/>
          </ac:spMkLst>
        </pc:spChg>
        <pc:spChg chg="add del mod">
          <ac:chgData name="Di Giovanni, Jacopo" userId="1c0dd4d4-ce7c-493a-9402-a0ed3a5c24bd" providerId="ADAL" clId="{C46E89DA-7211-4BC2-8D98-0636D74B2FBC}" dt="2026-05-12T10:05:34.437" v="9532"/>
          <ac:spMkLst>
            <pc:docMk/>
            <pc:sldMk cId="615184241" sldId="718"/>
            <ac:spMk id="7" creationId="{C43BA701-DAAC-174E-9236-76B01DD5C8E1}"/>
          </ac:spMkLst>
        </pc:spChg>
        <pc:spChg chg="mod">
          <ac:chgData name="Di Giovanni, Jacopo" userId="1c0dd4d4-ce7c-493a-9402-a0ed3a5c24bd" providerId="ADAL" clId="{C46E89DA-7211-4BC2-8D98-0636D74B2FBC}" dt="2026-05-11T14:44:02.839" v="8051" actId="1076"/>
          <ac:spMkLst>
            <pc:docMk/>
            <pc:sldMk cId="615184241" sldId="718"/>
            <ac:spMk id="11" creationId="{9F1EC0C4-058F-4DE2-DF25-5C7FB8D8D4DE}"/>
          </ac:spMkLst>
        </pc:spChg>
        <pc:spChg chg="mod">
          <ac:chgData name="Di Giovanni, Jacopo" userId="1c0dd4d4-ce7c-493a-9402-a0ed3a5c24bd" providerId="ADAL" clId="{C46E89DA-7211-4BC2-8D98-0636D74B2FBC}" dt="2026-05-11T16:05:37.952" v="8238" actId="1076"/>
          <ac:spMkLst>
            <pc:docMk/>
            <pc:sldMk cId="615184241" sldId="718"/>
            <ac:spMk id="13" creationId="{1F07426E-6E25-287D-5848-DEA9C95DE5AC}"/>
          </ac:spMkLst>
        </pc:spChg>
        <pc:spChg chg="del mod">
          <ac:chgData name="Di Giovanni, Jacopo" userId="1c0dd4d4-ce7c-493a-9402-a0ed3a5c24bd" providerId="ADAL" clId="{C46E89DA-7211-4BC2-8D98-0636D74B2FBC}" dt="2026-05-11T14:39:59.530" v="8012" actId="478"/>
          <ac:spMkLst>
            <pc:docMk/>
            <pc:sldMk cId="615184241" sldId="718"/>
            <ac:spMk id="14" creationId="{25CFB504-F1DB-B8B9-15EE-A326AA9D3512}"/>
          </ac:spMkLst>
        </pc:spChg>
        <pc:spChg chg="del mod">
          <ac:chgData name="Di Giovanni, Jacopo" userId="1c0dd4d4-ce7c-493a-9402-a0ed3a5c24bd" providerId="ADAL" clId="{C46E89DA-7211-4BC2-8D98-0636D74B2FBC}" dt="2026-05-12T10:01:18.216" v="9239" actId="478"/>
          <ac:spMkLst>
            <pc:docMk/>
            <pc:sldMk cId="615184241" sldId="718"/>
            <ac:spMk id="15" creationId="{00AC6CFC-C855-0953-1C62-4312EE38439C}"/>
          </ac:spMkLst>
        </pc:spChg>
        <pc:spChg chg="add mod">
          <ac:chgData name="Di Giovanni, Jacopo" userId="1c0dd4d4-ce7c-493a-9402-a0ed3a5c24bd" providerId="ADAL" clId="{C46E89DA-7211-4BC2-8D98-0636D74B2FBC}" dt="2026-05-12T10:14:29.839" v="9604" actId="20577"/>
          <ac:spMkLst>
            <pc:docMk/>
            <pc:sldMk cId="615184241" sldId="718"/>
            <ac:spMk id="23" creationId="{F66B9767-9D2E-B2C7-055C-19E614193B5A}"/>
          </ac:spMkLst>
        </pc:spChg>
        <pc:spChg chg="add mod">
          <ac:chgData name="Di Giovanni, Jacopo" userId="1c0dd4d4-ce7c-493a-9402-a0ed3a5c24bd" providerId="ADAL" clId="{C46E89DA-7211-4BC2-8D98-0636D74B2FBC}" dt="2026-05-12T10:18:44.491" v="9642" actId="164"/>
          <ac:spMkLst>
            <pc:docMk/>
            <pc:sldMk cId="615184241" sldId="718"/>
            <ac:spMk id="24" creationId="{7E557621-4198-C2CD-7D52-07FECC47DC2D}"/>
          </ac:spMkLst>
        </pc:spChg>
        <pc:spChg chg="add mod">
          <ac:chgData name="Di Giovanni, Jacopo" userId="1c0dd4d4-ce7c-493a-9402-a0ed3a5c24bd" providerId="ADAL" clId="{C46E89DA-7211-4BC2-8D98-0636D74B2FBC}" dt="2026-05-12T10:18:44.491" v="9642" actId="164"/>
          <ac:spMkLst>
            <pc:docMk/>
            <pc:sldMk cId="615184241" sldId="718"/>
            <ac:spMk id="25" creationId="{0FAE980F-6B8B-88A3-2EF0-F524EF0653E6}"/>
          </ac:spMkLst>
        </pc:spChg>
        <pc:spChg chg="add mod">
          <ac:chgData name="Di Giovanni, Jacopo" userId="1c0dd4d4-ce7c-493a-9402-a0ed3a5c24bd" providerId="ADAL" clId="{C46E89DA-7211-4BC2-8D98-0636D74B2FBC}" dt="2026-05-12T10:18:23.906" v="9639" actId="164"/>
          <ac:spMkLst>
            <pc:docMk/>
            <pc:sldMk cId="615184241" sldId="718"/>
            <ac:spMk id="26" creationId="{24B810C0-3BAE-49A1-727A-6101ED48630C}"/>
          </ac:spMkLst>
        </pc:spChg>
        <pc:spChg chg="add mod">
          <ac:chgData name="Di Giovanni, Jacopo" userId="1c0dd4d4-ce7c-493a-9402-a0ed3a5c24bd" providerId="ADAL" clId="{C46E89DA-7211-4BC2-8D98-0636D74B2FBC}" dt="2026-05-12T10:18:23.906" v="9639" actId="164"/>
          <ac:spMkLst>
            <pc:docMk/>
            <pc:sldMk cId="615184241" sldId="718"/>
            <ac:spMk id="27" creationId="{96D66018-68AA-D37F-E14F-D78909A56E02}"/>
          </ac:spMkLst>
        </pc:spChg>
        <pc:grpChg chg="add mod">
          <ac:chgData name="Di Giovanni, Jacopo" userId="1c0dd4d4-ce7c-493a-9402-a0ed3a5c24bd" providerId="ADAL" clId="{C46E89DA-7211-4BC2-8D98-0636D74B2FBC}" dt="2026-05-12T10:18:36.499" v="9641" actId="1076"/>
          <ac:grpSpMkLst>
            <pc:docMk/>
            <pc:sldMk cId="615184241" sldId="718"/>
            <ac:grpSpMk id="28" creationId="{AC4F40ED-06CA-2188-99F1-E286C5C1FFE8}"/>
          </ac:grpSpMkLst>
        </pc:grpChg>
        <pc:grpChg chg="add mod">
          <ac:chgData name="Di Giovanni, Jacopo" userId="1c0dd4d4-ce7c-493a-9402-a0ed3a5c24bd" providerId="ADAL" clId="{C46E89DA-7211-4BC2-8D98-0636D74B2FBC}" dt="2026-05-12T10:19:00.530" v="9645" actId="14100"/>
          <ac:grpSpMkLst>
            <pc:docMk/>
            <pc:sldMk cId="615184241" sldId="718"/>
            <ac:grpSpMk id="29" creationId="{DAF5A43E-D6B1-41BA-CC10-1E8A1155F5CE}"/>
          </ac:grpSpMkLst>
        </pc:grpChg>
        <pc:graphicFrameChg chg="add del mod">
          <ac:chgData name="Di Giovanni, Jacopo" userId="1c0dd4d4-ce7c-493a-9402-a0ed3a5c24bd" providerId="ADAL" clId="{C46E89DA-7211-4BC2-8D98-0636D74B2FBC}" dt="2026-05-12T09:40:57.658" v="9133" actId="478"/>
          <ac:graphicFrameMkLst>
            <pc:docMk/>
            <pc:sldMk cId="615184241" sldId="718"/>
            <ac:graphicFrameMk id="16" creationId="{52ABB3FE-713A-78FA-E847-8D6A5A99BB00}"/>
          </ac:graphicFrameMkLst>
        </pc:graphicFrameChg>
        <pc:graphicFrameChg chg="add del mod">
          <ac:chgData name="Di Giovanni, Jacopo" userId="1c0dd4d4-ce7c-493a-9402-a0ed3a5c24bd" providerId="ADAL" clId="{C46E89DA-7211-4BC2-8D98-0636D74B2FBC}" dt="2026-05-12T09:42:12.551" v="9144" actId="478"/>
          <ac:graphicFrameMkLst>
            <pc:docMk/>
            <pc:sldMk cId="615184241" sldId="718"/>
            <ac:graphicFrameMk id="19" creationId="{5EC46870-2EE5-F635-2C52-C803D5C15884}"/>
          </ac:graphicFrameMkLst>
        </pc:graphicFrameChg>
        <pc:graphicFrameChg chg="add mod">
          <ac:chgData name="Di Giovanni, Jacopo" userId="1c0dd4d4-ce7c-493a-9402-a0ed3a5c24bd" providerId="ADAL" clId="{C46E89DA-7211-4BC2-8D98-0636D74B2FBC}" dt="2026-05-12T11:18:27.398" v="10535" actId="207"/>
          <ac:graphicFrameMkLst>
            <pc:docMk/>
            <pc:sldMk cId="615184241" sldId="718"/>
            <ac:graphicFrameMk id="22" creationId="{F2C75B17-D1DA-F137-8C99-C6D393EEDD39}"/>
          </ac:graphicFrameMkLst>
        </pc:graphicFrameChg>
      </pc:sldChg>
      <pc:sldChg chg="addSp delSp modSp add del mod">
        <pc:chgData name="Di Giovanni, Jacopo" userId="1c0dd4d4-ce7c-493a-9402-a0ed3a5c24bd" providerId="ADAL" clId="{C46E89DA-7211-4BC2-8D98-0636D74B2FBC}" dt="2026-05-12T10:35:14.908" v="9670" actId="47"/>
        <pc:sldMkLst>
          <pc:docMk/>
          <pc:sldMk cId="3334298390" sldId="729"/>
        </pc:sldMkLst>
        <pc:spChg chg="del mod">
          <ac:chgData name="Di Giovanni, Jacopo" userId="1c0dd4d4-ce7c-493a-9402-a0ed3a5c24bd" providerId="ADAL" clId="{C46E89DA-7211-4BC2-8D98-0636D74B2FBC}" dt="2026-05-12T08:10:13.927" v="8569" actId="478"/>
          <ac:spMkLst>
            <pc:docMk/>
            <pc:sldMk cId="3334298390" sldId="729"/>
            <ac:spMk id="4" creationId="{9878D55B-0CE4-B6D2-AE87-C201F92C8D50}"/>
          </ac:spMkLst>
        </pc:spChg>
        <pc:spChg chg="mod">
          <ac:chgData name="Di Giovanni, Jacopo" userId="1c0dd4d4-ce7c-493a-9402-a0ed3a5c24bd" providerId="ADAL" clId="{C46E89DA-7211-4BC2-8D98-0636D74B2FBC}" dt="2026-05-11T15:27:18.509" v="8165" actId="20577"/>
          <ac:spMkLst>
            <pc:docMk/>
            <pc:sldMk cId="3334298390" sldId="729"/>
            <ac:spMk id="6" creationId="{979F073F-F267-CA61-8A90-6C068DF177C5}"/>
          </ac:spMkLst>
        </pc:spChg>
        <pc:spChg chg="add del mod">
          <ac:chgData name="Di Giovanni, Jacopo" userId="1c0dd4d4-ce7c-493a-9402-a0ed3a5c24bd" providerId="ADAL" clId="{C46E89DA-7211-4BC2-8D98-0636D74B2FBC}" dt="2026-05-12T08:26:40.548" v="8632" actId="478"/>
          <ac:spMkLst>
            <pc:docMk/>
            <pc:sldMk cId="3334298390" sldId="729"/>
            <ac:spMk id="7" creationId="{EFCB5C5E-1CA7-FC48-F874-0D1C8F2BA3DE}"/>
          </ac:spMkLst>
        </pc:spChg>
        <pc:spChg chg="add mod">
          <ac:chgData name="Di Giovanni, Jacopo" userId="1c0dd4d4-ce7c-493a-9402-a0ed3a5c24bd" providerId="ADAL" clId="{C46E89DA-7211-4BC2-8D98-0636D74B2FBC}" dt="2026-05-12T08:26:34.602" v="8631"/>
          <ac:spMkLst>
            <pc:docMk/>
            <pc:sldMk cId="3334298390" sldId="729"/>
            <ac:spMk id="8" creationId="{68DB1107-0C38-C97A-3DF2-35C26CDD8E72}"/>
          </ac:spMkLst>
        </pc:spChg>
        <pc:spChg chg="mod">
          <ac:chgData name="Di Giovanni, Jacopo" userId="1c0dd4d4-ce7c-493a-9402-a0ed3a5c24bd" providerId="ADAL" clId="{C46E89DA-7211-4BC2-8D98-0636D74B2FBC}" dt="2026-05-11T15:25:59.491" v="8150" actId="1076"/>
          <ac:spMkLst>
            <pc:docMk/>
            <pc:sldMk cId="3334298390" sldId="729"/>
            <ac:spMk id="11" creationId="{E8490EBF-0CFF-3317-A7BE-0654A30EDB3A}"/>
          </ac:spMkLst>
        </pc:spChg>
        <pc:spChg chg="mod">
          <ac:chgData name="Di Giovanni, Jacopo" userId="1c0dd4d4-ce7c-493a-9402-a0ed3a5c24bd" providerId="ADAL" clId="{C46E89DA-7211-4BC2-8D98-0636D74B2FBC}" dt="2026-05-11T15:17:50.117" v="8127" actId="1076"/>
          <ac:spMkLst>
            <pc:docMk/>
            <pc:sldMk cId="3334298390" sldId="729"/>
            <ac:spMk id="13" creationId="{3939E981-8EEB-B44A-E7A9-9C79887D10FE}"/>
          </ac:spMkLst>
        </pc:spChg>
        <pc:spChg chg="add mod">
          <ac:chgData name="Di Giovanni, Jacopo" userId="1c0dd4d4-ce7c-493a-9402-a0ed3a5c24bd" providerId="ADAL" clId="{C46E89DA-7211-4BC2-8D98-0636D74B2FBC}" dt="2026-05-12T08:26:45.561" v="8635" actId="20577"/>
          <ac:spMkLst>
            <pc:docMk/>
            <pc:sldMk cId="3334298390" sldId="729"/>
            <ac:spMk id="14" creationId="{1ECF3176-6E8A-6C84-F3E3-973E93234752}"/>
          </ac:spMkLst>
        </pc:spChg>
        <pc:spChg chg="mod">
          <ac:chgData name="Di Giovanni, Jacopo" userId="1c0dd4d4-ce7c-493a-9402-a0ed3a5c24bd" providerId="ADAL" clId="{C46E89DA-7211-4BC2-8D98-0636D74B2FBC}" dt="2026-05-11T15:18:01.874" v="8129" actId="14100"/>
          <ac:spMkLst>
            <pc:docMk/>
            <pc:sldMk cId="3334298390" sldId="729"/>
            <ac:spMk id="15" creationId="{1E586ED8-0C7D-33A3-D6A5-A55A34D05CA8}"/>
          </ac:spMkLst>
        </pc:spChg>
      </pc:sldChg>
      <pc:sldChg chg="new del">
        <pc:chgData name="Di Giovanni, Jacopo" userId="1c0dd4d4-ce7c-493a-9402-a0ed3a5c24bd" providerId="ADAL" clId="{C46E89DA-7211-4BC2-8D98-0636D74B2FBC}" dt="2026-05-11T15:53:50.016" v="8167" actId="680"/>
        <pc:sldMkLst>
          <pc:docMk/>
          <pc:sldMk cId="1494396660" sldId="730"/>
        </pc:sldMkLst>
      </pc:sldChg>
      <pc:sldChg chg="delSp modSp add del mod">
        <pc:chgData name="Di Giovanni, Jacopo" userId="1c0dd4d4-ce7c-493a-9402-a0ed3a5c24bd" providerId="ADAL" clId="{C46E89DA-7211-4BC2-8D98-0636D74B2FBC}" dt="2026-05-11T15:56:46.637" v="8223" actId="47"/>
        <pc:sldMkLst>
          <pc:docMk/>
          <pc:sldMk cId="1810218081" sldId="730"/>
        </pc:sldMkLst>
        <pc:spChg chg="mod">
          <ac:chgData name="Di Giovanni, Jacopo" userId="1c0dd4d4-ce7c-493a-9402-a0ed3a5c24bd" providerId="ADAL" clId="{C46E89DA-7211-4BC2-8D98-0636D74B2FBC}" dt="2026-05-11T15:54:19.833" v="8214" actId="20577"/>
          <ac:spMkLst>
            <pc:docMk/>
            <pc:sldMk cId="1810218081" sldId="730"/>
            <ac:spMk id="4" creationId="{B0B82F40-AB54-BD44-32A5-8E0567F60B04}"/>
          </ac:spMkLst>
        </pc:spChg>
        <pc:spChg chg="del">
          <ac:chgData name="Di Giovanni, Jacopo" userId="1c0dd4d4-ce7c-493a-9402-a0ed3a5c24bd" providerId="ADAL" clId="{C46E89DA-7211-4BC2-8D98-0636D74B2FBC}" dt="2026-05-11T15:55:01.937" v="8221" actId="478"/>
          <ac:spMkLst>
            <pc:docMk/>
            <pc:sldMk cId="1810218081" sldId="730"/>
            <ac:spMk id="6" creationId="{93B387AB-1F8C-78FF-7AC1-BE70C1BA9B84}"/>
          </ac:spMkLst>
        </pc:spChg>
        <pc:spChg chg="del">
          <ac:chgData name="Di Giovanni, Jacopo" userId="1c0dd4d4-ce7c-493a-9402-a0ed3a5c24bd" providerId="ADAL" clId="{C46E89DA-7211-4BC2-8D98-0636D74B2FBC}" dt="2026-05-11T15:54:53.969" v="8218" actId="478"/>
          <ac:spMkLst>
            <pc:docMk/>
            <pc:sldMk cId="1810218081" sldId="730"/>
            <ac:spMk id="9" creationId="{9E9E56D0-7010-BBBC-67D0-F9F3BA4D0CD7}"/>
          </ac:spMkLst>
        </pc:spChg>
        <pc:spChg chg="del">
          <ac:chgData name="Di Giovanni, Jacopo" userId="1c0dd4d4-ce7c-493a-9402-a0ed3a5c24bd" providerId="ADAL" clId="{C46E89DA-7211-4BC2-8D98-0636D74B2FBC}" dt="2026-05-11T15:54:52.001" v="8217" actId="478"/>
          <ac:spMkLst>
            <pc:docMk/>
            <pc:sldMk cId="1810218081" sldId="730"/>
            <ac:spMk id="10" creationId="{D30FE27D-A645-7742-FDEE-906DF2436C3D}"/>
          </ac:spMkLst>
        </pc:spChg>
        <pc:spChg chg="del">
          <ac:chgData name="Di Giovanni, Jacopo" userId="1c0dd4d4-ce7c-493a-9402-a0ed3a5c24bd" providerId="ADAL" clId="{C46E89DA-7211-4BC2-8D98-0636D74B2FBC}" dt="2026-05-11T15:54:47.688" v="8215" actId="478"/>
          <ac:spMkLst>
            <pc:docMk/>
            <pc:sldMk cId="1810218081" sldId="730"/>
            <ac:spMk id="11" creationId="{5382053C-17A1-8125-4BAC-62F052585242}"/>
          </ac:spMkLst>
        </pc:spChg>
        <pc:spChg chg="del">
          <ac:chgData name="Di Giovanni, Jacopo" userId="1c0dd4d4-ce7c-493a-9402-a0ed3a5c24bd" providerId="ADAL" clId="{C46E89DA-7211-4BC2-8D98-0636D74B2FBC}" dt="2026-05-11T15:54:56.071" v="8219" actId="478"/>
          <ac:spMkLst>
            <pc:docMk/>
            <pc:sldMk cId="1810218081" sldId="730"/>
            <ac:spMk id="12" creationId="{CDBC3B47-20C8-1118-E190-65710C66A299}"/>
          </ac:spMkLst>
        </pc:spChg>
        <pc:spChg chg="del">
          <ac:chgData name="Di Giovanni, Jacopo" userId="1c0dd4d4-ce7c-493a-9402-a0ed3a5c24bd" providerId="ADAL" clId="{C46E89DA-7211-4BC2-8D98-0636D74B2FBC}" dt="2026-05-11T15:54:50.362" v="8216" actId="478"/>
          <ac:spMkLst>
            <pc:docMk/>
            <pc:sldMk cId="1810218081" sldId="730"/>
            <ac:spMk id="13" creationId="{CE719818-D080-BA9E-6486-E1D7D96AB1B5}"/>
          </ac:spMkLst>
        </pc:spChg>
        <pc:spChg chg="del">
          <ac:chgData name="Di Giovanni, Jacopo" userId="1c0dd4d4-ce7c-493a-9402-a0ed3a5c24bd" providerId="ADAL" clId="{C46E89DA-7211-4BC2-8D98-0636D74B2FBC}" dt="2026-05-11T15:54:58.920" v="8220" actId="478"/>
          <ac:spMkLst>
            <pc:docMk/>
            <pc:sldMk cId="1810218081" sldId="730"/>
            <ac:spMk id="15" creationId="{EF79C9AA-1561-0994-113D-F1FA5AAE57C7}"/>
          </ac:spMkLst>
        </pc:spChg>
      </pc:sldChg>
      <pc:sldChg chg="addSp delSp modSp add mod">
        <pc:chgData name="Di Giovanni, Jacopo" userId="1c0dd4d4-ce7c-493a-9402-a0ed3a5c24bd" providerId="ADAL" clId="{C46E89DA-7211-4BC2-8D98-0636D74B2FBC}" dt="2026-05-12T15:21:31.577" v="10932" actId="5793"/>
        <pc:sldMkLst>
          <pc:docMk/>
          <pc:sldMk cId="2218762329" sldId="730"/>
        </pc:sldMkLst>
        <pc:spChg chg="mod">
          <ac:chgData name="Di Giovanni, Jacopo" userId="1c0dd4d4-ce7c-493a-9402-a0ed3a5c24bd" providerId="ADAL" clId="{C46E89DA-7211-4BC2-8D98-0636D74B2FBC}" dt="2026-05-12T13:00:55.763" v="10607" actId="20577"/>
          <ac:spMkLst>
            <pc:docMk/>
            <pc:sldMk cId="2218762329" sldId="730"/>
            <ac:spMk id="4" creationId="{8C1804ED-787F-B4E6-DE18-B74016CF2850}"/>
          </ac:spMkLst>
        </pc:spChg>
        <pc:spChg chg="mod">
          <ac:chgData name="Di Giovanni, Jacopo" userId="1c0dd4d4-ce7c-493a-9402-a0ed3a5c24bd" providerId="ADAL" clId="{C46E89DA-7211-4BC2-8D98-0636D74B2FBC}" dt="2026-05-12T10:19:34.464" v="9648" actId="1076"/>
          <ac:spMkLst>
            <pc:docMk/>
            <pc:sldMk cId="2218762329" sldId="730"/>
            <ac:spMk id="11" creationId="{9367E0B5-D9FA-AAB0-3D93-44E78A37E77E}"/>
          </ac:spMkLst>
        </pc:spChg>
        <pc:spChg chg="mod">
          <ac:chgData name="Di Giovanni, Jacopo" userId="1c0dd4d4-ce7c-493a-9402-a0ed3a5c24bd" providerId="ADAL" clId="{C46E89DA-7211-4BC2-8D98-0636D74B2FBC}" dt="2026-05-12T10:21:53.516" v="9654" actId="1076"/>
          <ac:spMkLst>
            <pc:docMk/>
            <pc:sldMk cId="2218762329" sldId="730"/>
            <ac:spMk id="13" creationId="{89409E4C-F5D9-6AFD-9038-61203EE00FA1}"/>
          </ac:spMkLst>
        </pc:spChg>
        <pc:spChg chg="add mod">
          <ac:chgData name="Di Giovanni, Jacopo" userId="1c0dd4d4-ce7c-493a-9402-a0ed3a5c24bd" providerId="ADAL" clId="{C46E89DA-7211-4BC2-8D98-0636D74B2FBC}" dt="2026-05-12T15:21:31.577" v="10932" actId="5793"/>
          <ac:spMkLst>
            <pc:docMk/>
            <pc:sldMk cId="2218762329" sldId="730"/>
            <ac:spMk id="16" creationId="{189F8B5F-5CA1-C2D4-8B2E-828B4E065BBA}"/>
          </ac:spMkLst>
        </pc:spChg>
        <pc:spChg chg="mod">
          <ac:chgData name="Di Giovanni, Jacopo" userId="1c0dd4d4-ce7c-493a-9402-a0ed3a5c24bd" providerId="ADAL" clId="{C46E89DA-7211-4BC2-8D98-0636D74B2FBC}" dt="2026-05-12T14:51:05.109" v="10856" actId="14100"/>
          <ac:spMkLst>
            <pc:docMk/>
            <pc:sldMk cId="2218762329" sldId="730"/>
            <ac:spMk id="23" creationId="{9D894D35-DB26-795E-A63C-A31AA6B264B6}"/>
          </ac:spMkLst>
        </pc:spChg>
        <pc:grpChg chg="del">
          <ac:chgData name="Di Giovanni, Jacopo" userId="1c0dd4d4-ce7c-493a-9402-a0ed3a5c24bd" providerId="ADAL" clId="{C46E89DA-7211-4BC2-8D98-0636D74B2FBC}" dt="2026-05-12T10:39:52.980" v="9672" actId="478"/>
          <ac:grpSpMkLst>
            <pc:docMk/>
            <pc:sldMk cId="2218762329" sldId="730"/>
            <ac:grpSpMk id="28" creationId="{BD1FFB5B-D3E9-C0A6-BE2F-84BF74C0B29F}"/>
          </ac:grpSpMkLst>
        </pc:grpChg>
        <pc:grpChg chg="del">
          <ac:chgData name="Di Giovanni, Jacopo" userId="1c0dd4d4-ce7c-493a-9402-a0ed3a5c24bd" providerId="ADAL" clId="{C46E89DA-7211-4BC2-8D98-0636D74B2FBC}" dt="2026-05-12T10:39:49.774" v="9671" actId="478"/>
          <ac:grpSpMkLst>
            <pc:docMk/>
            <pc:sldMk cId="2218762329" sldId="730"/>
            <ac:grpSpMk id="29" creationId="{F291BA12-8322-1901-5D05-4294F3F276BB}"/>
          </ac:grpSpMkLst>
        </pc:grpChg>
        <pc:graphicFrameChg chg="add del mod">
          <ac:chgData name="Di Giovanni, Jacopo" userId="1c0dd4d4-ce7c-493a-9402-a0ed3a5c24bd" providerId="ADAL" clId="{C46E89DA-7211-4BC2-8D98-0636D74B2FBC}" dt="2026-05-12T10:58:25.040" v="10109" actId="478"/>
          <ac:graphicFrameMkLst>
            <pc:docMk/>
            <pc:sldMk cId="2218762329" sldId="730"/>
            <ac:graphicFrameMk id="8" creationId="{60E9B456-3223-BA72-4D04-D622AAB2E5E5}"/>
          </ac:graphicFrameMkLst>
        </pc:graphicFrameChg>
        <pc:graphicFrameChg chg="mod">
          <ac:chgData name="Di Giovanni, Jacopo" userId="1c0dd4d4-ce7c-493a-9402-a0ed3a5c24bd" providerId="ADAL" clId="{C46E89DA-7211-4BC2-8D98-0636D74B2FBC}" dt="2026-05-12T11:18:35.050" v="10536"/>
          <ac:graphicFrameMkLst>
            <pc:docMk/>
            <pc:sldMk cId="2218762329" sldId="730"/>
            <ac:graphicFrameMk id="22" creationId="{942517FE-87EF-6D43-097D-2118AFBCBB1F}"/>
          </ac:graphicFrameMkLst>
        </pc:graphicFrameChg>
      </pc:sldChg>
    </pc:docChg>
  </pc:docChgLst>
  <pc:docChgLst>
    <pc:chgData name="Pigoni, Federica" userId="5b98865d-aae9-45e4-90e8-c00ca68e335e" providerId="ADAL" clId="{2836EBBF-DF70-474B-B291-80DA72296CD5}"/>
    <pc:docChg chg="undo redo custSel modSld">
      <pc:chgData name="Pigoni, Federica" userId="5b98865d-aae9-45e4-90e8-c00ca68e335e" providerId="ADAL" clId="{2836EBBF-DF70-474B-B291-80DA72296CD5}" dt="2026-05-12T15:01:34.038" v="850" actId="6549"/>
      <pc:docMkLst>
        <pc:docMk/>
      </pc:docMkLst>
      <pc:sldChg chg="addSp delSp modSp mod">
        <pc:chgData name="Pigoni, Federica" userId="5b98865d-aae9-45e4-90e8-c00ca68e335e" providerId="ADAL" clId="{2836EBBF-DF70-474B-B291-80DA72296CD5}" dt="2026-05-12T10:12:05.859" v="469"/>
        <pc:sldMkLst>
          <pc:docMk/>
          <pc:sldMk cId="1317860926" sldId="333"/>
        </pc:sldMkLst>
        <pc:spChg chg="add mod">
          <ac:chgData name="Pigoni, Federica" userId="5b98865d-aae9-45e4-90e8-c00ca68e335e" providerId="ADAL" clId="{2836EBBF-DF70-474B-B291-80DA72296CD5}" dt="2026-05-12T10:12:00.781" v="468"/>
          <ac:spMkLst>
            <pc:docMk/>
            <pc:sldMk cId="1317860926" sldId="333"/>
            <ac:spMk id="2" creationId="{D5B05471-DB58-754C-D0E6-BA492A813304}"/>
          </ac:spMkLst>
        </pc:spChg>
        <pc:spChg chg="mod">
          <ac:chgData name="Pigoni, Federica" userId="5b98865d-aae9-45e4-90e8-c00ca68e335e" providerId="ADAL" clId="{2836EBBF-DF70-474B-B291-80DA72296CD5}" dt="2026-05-12T09:38:06.925" v="293" actId="20577"/>
          <ac:spMkLst>
            <pc:docMk/>
            <pc:sldMk cId="1317860926" sldId="333"/>
            <ac:spMk id="3" creationId="{1BFBD1E4-35B7-B413-96FB-DA8A87455F26}"/>
          </ac:spMkLst>
        </pc:spChg>
        <pc:spChg chg="mod">
          <ac:chgData name="Pigoni, Federica" userId="5b98865d-aae9-45e4-90e8-c00ca68e335e" providerId="ADAL" clId="{2836EBBF-DF70-474B-B291-80DA72296CD5}" dt="2026-05-12T09:34:32.438" v="21" actId="20577"/>
          <ac:spMkLst>
            <pc:docMk/>
            <pc:sldMk cId="1317860926" sldId="333"/>
            <ac:spMk id="5" creationId="{FC2F0F38-61DA-C7CD-3F6B-1A60E6D5D33A}"/>
          </ac:spMkLst>
        </pc:spChg>
        <pc:spChg chg="add mod">
          <ac:chgData name="Pigoni, Federica" userId="5b98865d-aae9-45e4-90e8-c00ca68e335e" providerId="ADAL" clId="{2836EBBF-DF70-474B-B291-80DA72296CD5}" dt="2026-05-12T10:12:05.859" v="469"/>
          <ac:spMkLst>
            <pc:docMk/>
            <pc:sldMk cId="1317860926" sldId="333"/>
            <ac:spMk id="6" creationId="{9223B943-954A-502E-A0A1-9846DEC59A88}"/>
          </ac:spMkLst>
        </pc:spChg>
        <pc:grpChg chg="del">
          <ac:chgData name="Pigoni, Federica" userId="5b98865d-aae9-45e4-90e8-c00ca68e335e" providerId="ADAL" clId="{2836EBBF-DF70-474B-B291-80DA72296CD5}" dt="2026-05-12T10:12:00.120" v="467" actId="478"/>
          <ac:grpSpMkLst>
            <pc:docMk/>
            <pc:sldMk cId="1317860926" sldId="333"/>
            <ac:grpSpMk id="10" creationId="{EB92889D-A98E-8EC7-EC3B-85903CF6824F}"/>
          </ac:grpSpMkLst>
        </pc:grpChg>
      </pc:sldChg>
      <pc:sldChg chg="modSp mod">
        <pc:chgData name="Pigoni, Federica" userId="5b98865d-aae9-45e4-90e8-c00ca68e335e" providerId="ADAL" clId="{2836EBBF-DF70-474B-B291-80DA72296CD5}" dt="2026-05-12T14:59:31.890" v="745" actId="14100"/>
        <pc:sldMkLst>
          <pc:docMk/>
          <pc:sldMk cId="2015608427" sldId="661"/>
        </pc:sldMkLst>
        <pc:spChg chg="mod">
          <ac:chgData name="Pigoni, Federica" userId="5b98865d-aae9-45e4-90e8-c00ca68e335e" providerId="ADAL" clId="{2836EBBF-DF70-474B-B291-80DA72296CD5}" dt="2026-05-12T14:59:31.890" v="745" actId="14100"/>
          <ac:spMkLst>
            <pc:docMk/>
            <pc:sldMk cId="2015608427" sldId="661"/>
            <ac:spMk id="2" creationId="{5510E56A-F2BE-78CE-68A2-CF3C46068027}"/>
          </ac:spMkLst>
        </pc:spChg>
      </pc:sldChg>
      <pc:sldChg chg="modSp mod">
        <pc:chgData name="Pigoni, Federica" userId="5b98865d-aae9-45e4-90e8-c00ca68e335e" providerId="ADAL" clId="{2836EBBF-DF70-474B-B291-80DA72296CD5}" dt="2026-05-12T14:59:07.702" v="744" actId="12789"/>
        <pc:sldMkLst>
          <pc:docMk/>
          <pc:sldMk cId="1936480655" sldId="662"/>
        </pc:sldMkLst>
        <pc:spChg chg="mod">
          <ac:chgData name="Pigoni, Federica" userId="5b98865d-aae9-45e4-90e8-c00ca68e335e" providerId="ADAL" clId="{2836EBBF-DF70-474B-B291-80DA72296CD5}" dt="2026-05-12T14:59:07.702" v="744" actId="12789"/>
          <ac:spMkLst>
            <pc:docMk/>
            <pc:sldMk cId="1936480655" sldId="662"/>
            <ac:spMk id="2" creationId="{4EC62105-2DFD-276D-558C-0CD46A05B641}"/>
          </ac:spMkLst>
        </pc:spChg>
        <pc:spChg chg="mod">
          <ac:chgData name="Pigoni, Federica" userId="5b98865d-aae9-45e4-90e8-c00ca68e335e" providerId="ADAL" clId="{2836EBBF-DF70-474B-B291-80DA72296CD5}" dt="2026-05-12T14:59:07.702" v="744" actId="12789"/>
          <ac:spMkLst>
            <pc:docMk/>
            <pc:sldMk cId="1936480655" sldId="662"/>
            <ac:spMk id="4" creationId="{211B2A5B-E764-6A7B-19EC-F53D00A868CC}"/>
          </ac:spMkLst>
        </pc:spChg>
      </pc:sldChg>
      <pc:sldChg chg="modSp mod">
        <pc:chgData name="Pigoni, Federica" userId="5b98865d-aae9-45e4-90e8-c00ca68e335e" providerId="ADAL" clId="{2836EBBF-DF70-474B-B291-80DA72296CD5}" dt="2026-05-12T10:14:00.696" v="470" actId="114"/>
        <pc:sldMkLst>
          <pc:docMk/>
          <pc:sldMk cId="1355272018" sldId="705"/>
        </pc:sldMkLst>
        <pc:spChg chg="mod">
          <ac:chgData name="Pigoni, Federica" userId="5b98865d-aae9-45e4-90e8-c00ca68e335e" providerId="ADAL" clId="{2836EBBF-DF70-474B-B291-80DA72296CD5}" dt="2026-05-12T10:14:00.696" v="470" actId="114"/>
          <ac:spMkLst>
            <pc:docMk/>
            <pc:sldMk cId="1355272018" sldId="705"/>
            <ac:spMk id="15" creationId="{0F9A5A8C-D3E6-AAA0-D62A-0993AC1A782F}"/>
          </ac:spMkLst>
        </pc:spChg>
      </pc:sldChg>
      <pc:sldChg chg="addSp delSp modSp mod">
        <pc:chgData name="Pigoni, Federica" userId="5b98865d-aae9-45e4-90e8-c00ca68e335e" providerId="ADAL" clId="{2836EBBF-DF70-474B-B291-80DA72296CD5}" dt="2026-05-12T09:55:22.033" v="404" actId="20577"/>
        <pc:sldMkLst>
          <pc:docMk/>
          <pc:sldMk cId="3993737009" sldId="708"/>
        </pc:sldMkLst>
        <pc:spChg chg="add mod">
          <ac:chgData name="Pigoni, Federica" userId="5b98865d-aae9-45e4-90e8-c00ca68e335e" providerId="ADAL" clId="{2836EBBF-DF70-474B-B291-80DA72296CD5}" dt="2026-05-12T09:19:03.078" v="10" actId="20577"/>
          <ac:spMkLst>
            <pc:docMk/>
            <pc:sldMk cId="3993737009" sldId="708"/>
            <ac:spMk id="2" creationId="{5554B944-57F5-E919-8743-059F68E74AF3}"/>
          </ac:spMkLst>
        </pc:spChg>
        <pc:spChg chg="add mod">
          <ac:chgData name="Pigoni, Federica" userId="5b98865d-aae9-45e4-90e8-c00ca68e335e" providerId="ADAL" clId="{2836EBBF-DF70-474B-B291-80DA72296CD5}" dt="2026-05-12T09:36:08.795" v="285" actId="123"/>
          <ac:spMkLst>
            <pc:docMk/>
            <pc:sldMk cId="3993737009" sldId="708"/>
            <ac:spMk id="3" creationId="{ABBC822D-BAD0-3465-18B3-76FE658947F4}"/>
          </ac:spMkLst>
        </pc:spChg>
        <pc:spChg chg="del mod">
          <ac:chgData name="Pigoni, Federica" userId="5b98865d-aae9-45e4-90e8-c00ca68e335e" providerId="ADAL" clId="{2836EBBF-DF70-474B-B291-80DA72296CD5}" dt="2026-05-12T09:18:51.542" v="4" actId="478"/>
          <ac:spMkLst>
            <pc:docMk/>
            <pc:sldMk cId="3993737009" sldId="708"/>
            <ac:spMk id="5" creationId="{F42388BE-94FE-84BC-082E-352063A2F973}"/>
          </ac:spMkLst>
        </pc:spChg>
        <pc:spChg chg="mod">
          <ac:chgData name="Pigoni, Federica" userId="5b98865d-aae9-45e4-90e8-c00ca68e335e" providerId="ADAL" clId="{2836EBBF-DF70-474B-B291-80DA72296CD5}" dt="2026-05-12T09:34:50.769" v="23" actId="20577"/>
          <ac:spMkLst>
            <pc:docMk/>
            <pc:sldMk cId="3993737009" sldId="708"/>
            <ac:spMk id="7" creationId="{D271B3A6-702C-3765-D52B-F2BAD9F0A172}"/>
          </ac:spMkLst>
        </pc:spChg>
        <pc:spChg chg="mod">
          <ac:chgData name="Pigoni, Federica" userId="5b98865d-aae9-45e4-90e8-c00ca68e335e" providerId="ADAL" clId="{2836EBBF-DF70-474B-B291-80DA72296CD5}" dt="2026-05-12T09:36:24.304" v="287" actId="20577"/>
          <ac:spMkLst>
            <pc:docMk/>
            <pc:sldMk cId="3993737009" sldId="708"/>
            <ac:spMk id="37" creationId="{83A3752B-5ECA-A075-46DB-C22EA2605A6D}"/>
          </ac:spMkLst>
        </pc:spChg>
        <pc:spChg chg="mod">
          <ac:chgData name="Pigoni, Federica" userId="5b98865d-aae9-45e4-90e8-c00ca68e335e" providerId="ADAL" clId="{2836EBBF-DF70-474B-B291-80DA72296CD5}" dt="2026-05-12T09:36:02.880" v="283" actId="1036"/>
          <ac:spMkLst>
            <pc:docMk/>
            <pc:sldMk cId="3993737009" sldId="708"/>
            <ac:spMk id="47" creationId="{08ADC25F-2476-9AE6-D362-AC7248CE077C}"/>
          </ac:spMkLst>
        </pc:spChg>
        <pc:spChg chg="mod">
          <ac:chgData name="Pigoni, Federica" userId="5b98865d-aae9-45e4-90e8-c00ca68e335e" providerId="ADAL" clId="{2836EBBF-DF70-474B-B291-80DA72296CD5}" dt="2026-05-12T09:55:22.033" v="404" actId="20577"/>
          <ac:spMkLst>
            <pc:docMk/>
            <pc:sldMk cId="3993737009" sldId="708"/>
            <ac:spMk id="51" creationId="{FD1C4070-314F-4772-9EB8-B8399D6F0F2B}"/>
          </ac:spMkLst>
        </pc:spChg>
        <pc:graphicFrameChg chg="mod">
          <ac:chgData name="Pigoni, Federica" userId="5b98865d-aae9-45e4-90e8-c00ca68e335e" providerId="ADAL" clId="{2836EBBF-DF70-474B-B291-80DA72296CD5}" dt="2026-05-12T09:36:02.880" v="283" actId="1036"/>
          <ac:graphicFrameMkLst>
            <pc:docMk/>
            <pc:sldMk cId="3993737009" sldId="708"/>
            <ac:graphicFrameMk id="24" creationId="{6B44B656-0640-FFE8-DDD1-35CF8015DF1E}"/>
          </ac:graphicFrameMkLst>
        </pc:graphicFrameChg>
      </pc:sldChg>
      <pc:sldChg chg="addSp delSp modSp mod">
        <pc:chgData name="Pigoni, Federica" userId="5b98865d-aae9-45e4-90e8-c00ca68e335e" providerId="ADAL" clId="{2836EBBF-DF70-474B-B291-80DA72296CD5}" dt="2026-05-12T09:53:05.743" v="368" actId="465"/>
        <pc:sldMkLst>
          <pc:docMk/>
          <pc:sldMk cId="1289130398" sldId="709"/>
        </pc:sldMkLst>
        <pc:spChg chg="add mod">
          <ac:chgData name="Pigoni, Federica" userId="5b98865d-aae9-45e4-90e8-c00ca68e335e" providerId="ADAL" clId="{2836EBBF-DF70-474B-B291-80DA72296CD5}" dt="2026-05-12T09:19:33.572" v="18" actId="14100"/>
          <ac:spMkLst>
            <pc:docMk/>
            <pc:sldMk cId="1289130398" sldId="709"/>
            <ac:spMk id="2" creationId="{D1048F67-34CD-2A66-E4FA-67BF45D1606E}"/>
          </ac:spMkLst>
        </pc:spChg>
        <pc:spChg chg="del mod">
          <ac:chgData name="Pigoni, Federica" userId="5b98865d-aae9-45e4-90e8-c00ca68e335e" providerId="ADAL" clId="{2836EBBF-DF70-474B-B291-80DA72296CD5}" dt="2026-05-12T09:19:29.838" v="17" actId="478"/>
          <ac:spMkLst>
            <pc:docMk/>
            <pc:sldMk cId="1289130398" sldId="709"/>
            <ac:spMk id="3" creationId="{CC110308-5409-621E-78CA-EF8F8681ECE7}"/>
          </ac:spMkLst>
        </pc:spChg>
        <pc:spChg chg="mod topLvl">
          <ac:chgData name="Pigoni, Federica" userId="5b98865d-aae9-45e4-90e8-c00ca68e335e" providerId="ADAL" clId="{2836EBBF-DF70-474B-B291-80DA72296CD5}" dt="2026-05-12T09:52:29.283" v="357" actId="165"/>
          <ac:spMkLst>
            <pc:docMk/>
            <pc:sldMk cId="1289130398" sldId="709"/>
            <ac:spMk id="11" creationId="{07E3178A-1B7F-6F70-B69F-A3DC62A78834}"/>
          </ac:spMkLst>
        </pc:spChg>
        <pc:spChg chg="mod">
          <ac:chgData name="Pigoni, Federica" userId="5b98865d-aae9-45e4-90e8-c00ca68e335e" providerId="ADAL" clId="{2836EBBF-DF70-474B-B291-80DA72296CD5}" dt="2026-05-12T09:52:35.260" v="359" actId="164"/>
          <ac:spMkLst>
            <pc:docMk/>
            <pc:sldMk cId="1289130398" sldId="709"/>
            <ac:spMk id="12" creationId="{A311D808-A74A-948F-856F-CBA1C58C3BC9}"/>
          </ac:spMkLst>
        </pc:spChg>
        <pc:spChg chg="mod topLvl">
          <ac:chgData name="Pigoni, Federica" userId="5b98865d-aae9-45e4-90e8-c00ca68e335e" providerId="ADAL" clId="{2836EBBF-DF70-474B-B291-80DA72296CD5}" dt="2026-05-12T09:52:35.260" v="359" actId="164"/>
          <ac:spMkLst>
            <pc:docMk/>
            <pc:sldMk cId="1289130398" sldId="709"/>
            <ac:spMk id="13" creationId="{0AAA8267-6B1B-A14C-5C68-F9CD6361C4B4}"/>
          </ac:spMkLst>
        </pc:spChg>
        <pc:spChg chg="mod">
          <ac:chgData name="Pigoni, Federica" userId="5b98865d-aae9-45e4-90e8-c00ca68e335e" providerId="ADAL" clId="{2836EBBF-DF70-474B-B291-80DA72296CD5}" dt="2026-05-12T09:52:35.260" v="359" actId="164"/>
          <ac:spMkLst>
            <pc:docMk/>
            <pc:sldMk cId="1289130398" sldId="709"/>
            <ac:spMk id="14" creationId="{C5E819D2-A449-6BE7-EE9B-A0D48E6D0975}"/>
          </ac:spMkLst>
        </pc:spChg>
        <pc:spChg chg="mod">
          <ac:chgData name="Pigoni, Federica" userId="5b98865d-aae9-45e4-90e8-c00ca68e335e" providerId="ADAL" clId="{2836EBBF-DF70-474B-B291-80DA72296CD5}" dt="2026-05-12T09:52:43.862" v="361" actId="164"/>
          <ac:spMkLst>
            <pc:docMk/>
            <pc:sldMk cId="1289130398" sldId="709"/>
            <ac:spMk id="15" creationId="{A6D492BE-8BBE-68C9-ACFB-94889BFD552E}"/>
          </ac:spMkLst>
        </pc:spChg>
        <pc:spChg chg="mod topLvl">
          <ac:chgData name="Pigoni, Federica" userId="5b98865d-aae9-45e4-90e8-c00ca68e335e" providerId="ADAL" clId="{2836EBBF-DF70-474B-B291-80DA72296CD5}" dt="2026-05-12T09:52:43.862" v="361" actId="164"/>
          <ac:spMkLst>
            <pc:docMk/>
            <pc:sldMk cId="1289130398" sldId="709"/>
            <ac:spMk id="16" creationId="{0FE1B07C-714E-5D67-E564-5CED281D7C4D}"/>
          </ac:spMkLst>
        </pc:spChg>
        <pc:spChg chg="mod topLvl">
          <ac:chgData name="Pigoni, Federica" userId="5b98865d-aae9-45e4-90e8-c00ca68e335e" providerId="ADAL" clId="{2836EBBF-DF70-474B-B291-80DA72296CD5}" dt="2026-05-12T09:52:43.862" v="361" actId="164"/>
          <ac:spMkLst>
            <pc:docMk/>
            <pc:sldMk cId="1289130398" sldId="709"/>
            <ac:spMk id="17" creationId="{F6754FDE-BB1B-EA45-167E-9294E2003880}"/>
          </ac:spMkLst>
        </pc:spChg>
        <pc:spChg chg="mod topLvl">
          <ac:chgData name="Pigoni, Federica" userId="5b98865d-aae9-45e4-90e8-c00ca68e335e" providerId="ADAL" clId="{2836EBBF-DF70-474B-B291-80DA72296CD5}" dt="2026-05-12T09:52:54.085" v="365" actId="164"/>
          <ac:spMkLst>
            <pc:docMk/>
            <pc:sldMk cId="1289130398" sldId="709"/>
            <ac:spMk id="18" creationId="{E6F939D8-E51D-7BEE-B41F-2B739AA01506}"/>
          </ac:spMkLst>
        </pc:spChg>
        <pc:spChg chg="mod">
          <ac:chgData name="Pigoni, Federica" userId="5b98865d-aae9-45e4-90e8-c00ca68e335e" providerId="ADAL" clId="{2836EBBF-DF70-474B-B291-80DA72296CD5}" dt="2026-05-12T09:42:47.980" v="294" actId="20577"/>
          <ac:spMkLst>
            <pc:docMk/>
            <pc:sldMk cId="1289130398" sldId="709"/>
            <ac:spMk id="21" creationId="{45441295-45A5-BDBA-9412-0B50B7F3B18B}"/>
          </ac:spMkLst>
        </pc:spChg>
        <pc:spChg chg="mod topLvl">
          <ac:chgData name="Pigoni, Federica" userId="5b98865d-aae9-45e4-90e8-c00ca68e335e" providerId="ADAL" clId="{2836EBBF-DF70-474B-B291-80DA72296CD5}" dt="2026-05-12T09:52:49.489" v="363" actId="164"/>
          <ac:spMkLst>
            <pc:docMk/>
            <pc:sldMk cId="1289130398" sldId="709"/>
            <ac:spMk id="25" creationId="{80414EB0-0C7E-C135-BBA3-4F6DCC84A8E7}"/>
          </ac:spMkLst>
        </pc:spChg>
        <pc:spChg chg="mod">
          <ac:chgData name="Pigoni, Federica" userId="5b98865d-aae9-45e4-90e8-c00ca68e335e" providerId="ADAL" clId="{2836EBBF-DF70-474B-B291-80DA72296CD5}" dt="2026-05-12T09:52:49.489" v="363" actId="164"/>
          <ac:spMkLst>
            <pc:docMk/>
            <pc:sldMk cId="1289130398" sldId="709"/>
            <ac:spMk id="26" creationId="{3CE87851-D0F2-3A70-5F5D-B25DA5D15D99}"/>
          </ac:spMkLst>
        </pc:spChg>
        <pc:spChg chg="mod topLvl">
          <ac:chgData name="Pigoni, Federica" userId="5b98865d-aae9-45e4-90e8-c00ca68e335e" providerId="ADAL" clId="{2836EBBF-DF70-474B-B291-80DA72296CD5}" dt="2026-05-12T09:52:49.489" v="363" actId="164"/>
          <ac:spMkLst>
            <pc:docMk/>
            <pc:sldMk cId="1289130398" sldId="709"/>
            <ac:spMk id="27" creationId="{E4FEA394-934F-1B93-3A0C-7C47E3B7D52F}"/>
          </ac:spMkLst>
        </pc:spChg>
        <pc:spChg chg="mod topLvl">
          <ac:chgData name="Pigoni, Federica" userId="5b98865d-aae9-45e4-90e8-c00ca68e335e" providerId="ADAL" clId="{2836EBBF-DF70-474B-B291-80DA72296CD5}" dt="2026-05-12T09:52:54.085" v="365" actId="164"/>
          <ac:spMkLst>
            <pc:docMk/>
            <pc:sldMk cId="1289130398" sldId="709"/>
            <ac:spMk id="29" creationId="{6E5B91BE-8DC5-B97D-8413-267081EDE11E}"/>
          </ac:spMkLst>
        </pc:spChg>
        <pc:spChg chg="mod topLvl">
          <ac:chgData name="Pigoni, Federica" userId="5b98865d-aae9-45e4-90e8-c00ca68e335e" providerId="ADAL" clId="{2836EBBF-DF70-474B-B291-80DA72296CD5}" dt="2026-05-12T09:52:54.085" v="365" actId="164"/>
          <ac:spMkLst>
            <pc:docMk/>
            <pc:sldMk cId="1289130398" sldId="709"/>
            <ac:spMk id="30" creationId="{C0309AD4-8BA8-1A96-458C-CB6607A3D4E5}"/>
          </ac:spMkLst>
        </pc:spChg>
        <pc:spChg chg="mod topLvl">
          <ac:chgData name="Pigoni, Federica" userId="5b98865d-aae9-45e4-90e8-c00ca68e335e" providerId="ADAL" clId="{2836EBBF-DF70-474B-B291-80DA72296CD5}" dt="2026-05-12T09:52:58.800" v="367" actId="164"/>
          <ac:spMkLst>
            <pc:docMk/>
            <pc:sldMk cId="1289130398" sldId="709"/>
            <ac:spMk id="32" creationId="{2CB064F9-5B4D-1595-6243-9D667C625D3A}"/>
          </ac:spMkLst>
        </pc:spChg>
        <pc:spChg chg="mod topLvl">
          <ac:chgData name="Pigoni, Federica" userId="5b98865d-aae9-45e4-90e8-c00ca68e335e" providerId="ADAL" clId="{2836EBBF-DF70-474B-B291-80DA72296CD5}" dt="2026-05-12T09:52:58.800" v="367" actId="164"/>
          <ac:spMkLst>
            <pc:docMk/>
            <pc:sldMk cId="1289130398" sldId="709"/>
            <ac:spMk id="33" creationId="{1EC2788B-0B58-61B4-EEA8-918D6957FDA7}"/>
          </ac:spMkLst>
        </pc:spChg>
        <pc:spChg chg="mod topLvl">
          <ac:chgData name="Pigoni, Federica" userId="5b98865d-aae9-45e4-90e8-c00ca68e335e" providerId="ADAL" clId="{2836EBBF-DF70-474B-B291-80DA72296CD5}" dt="2026-05-12T09:52:58.800" v="367" actId="164"/>
          <ac:spMkLst>
            <pc:docMk/>
            <pc:sldMk cId="1289130398" sldId="709"/>
            <ac:spMk id="49" creationId="{A056B7F1-0698-A1A4-132D-79053719C06B}"/>
          </ac:spMkLst>
        </pc:spChg>
        <pc:spChg chg="mod">
          <ac:chgData name="Pigoni, Federica" userId="5b98865d-aae9-45e4-90e8-c00ca68e335e" providerId="ADAL" clId="{2836EBBF-DF70-474B-B291-80DA72296CD5}" dt="2026-05-12T09:22:53.568" v="19" actId="255"/>
          <ac:spMkLst>
            <pc:docMk/>
            <pc:sldMk cId="1289130398" sldId="709"/>
            <ac:spMk id="52" creationId="{E7666AE7-A521-54A5-B845-5CBD24DA0402}"/>
          </ac:spMkLst>
        </pc:spChg>
        <pc:grpChg chg="add mod">
          <ac:chgData name="Pigoni, Federica" userId="5b98865d-aae9-45e4-90e8-c00ca68e335e" providerId="ADAL" clId="{2836EBBF-DF70-474B-B291-80DA72296CD5}" dt="2026-05-12T09:52:35.260" v="359" actId="164"/>
          <ac:grpSpMkLst>
            <pc:docMk/>
            <pc:sldMk cId="1289130398" sldId="709"/>
            <ac:grpSpMk id="6" creationId="{4DE9CBD6-60F0-CDA4-6C95-100AEFBE1D35}"/>
          </ac:grpSpMkLst>
        </pc:grpChg>
        <pc:grpChg chg="add mod">
          <ac:chgData name="Pigoni, Federica" userId="5b98865d-aae9-45e4-90e8-c00ca68e335e" providerId="ADAL" clId="{2836EBBF-DF70-474B-B291-80DA72296CD5}" dt="2026-05-12T09:53:05.743" v="368" actId="465"/>
          <ac:grpSpMkLst>
            <pc:docMk/>
            <pc:sldMk cId="1289130398" sldId="709"/>
            <ac:grpSpMk id="8" creationId="{A23139F5-2C9D-C3AC-C9A1-D5B47A55DB38}"/>
          </ac:grpSpMkLst>
        </pc:grpChg>
        <pc:grpChg chg="add mod">
          <ac:chgData name="Pigoni, Federica" userId="5b98865d-aae9-45e4-90e8-c00ca68e335e" providerId="ADAL" clId="{2836EBBF-DF70-474B-B291-80DA72296CD5}" dt="2026-05-12T09:53:05.743" v="368" actId="465"/>
          <ac:grpSpMkLst>
            <pc:docMk/>
            <pc:sldMk cId="1289130398" sldId="709"/>
            <ac:grpSpMk id="22" creationId="{38B0556B-C544-8BEB-AA1C-AFD619903E90}"/>
          </ac:grpSpMkLst>
        </pc:grpChg>
        <pc:grpChg chg="add mod">
          <ac:chgData name="Pigoni, Federica" userId="5b98865d-aae9-45e4-90e8-c00ca68e335e" providerId="ADAL" clId="{2836EBBF-DF70-474B-B291-80DA72296CD5}" dt="2026-05-12T09:53:05.743" v="368" actId="465"/>
          <ac:grpSpMkLst>
            <pc:docMk/>
            <pc:sldMk cId="1289130398" sldId="709"/>
            <ac:grpSpMk id="23" creationId="{E7406FD7-45A2-3508-CD42-4FBC9BD8B2F9}"/>
          </ac:grpSpMkLst>
        </pc:grpChg>
        <pc:grpChg chg="add mod">
          <ac:chgData name="Pigoni, Federica" userId="5b98865d-aae9-45e4-90e8-c00ca68e335e" providerId="ADAL" clId="{2836EBBF-DF70-474B-B291-80DA72296CD5}" dt="2026-05-12T09:52:58.800" v="367" actId="164"/>
          <ac:grpSpMkLst>
            <pc:docMk/>
            <pc:sldMk cId="1289130398" sldId="709"/>
            <ac:grpSpMk id="24" creationId="{3DBBA4E3-05C6-5BDC-5AB4-D632FA9AA3D1}"/>
          </ac:grpSpMkLst>
        </pc:grpChg>
      </pc:sldChg>
      <pc:sldChg chg="addSp delSp modSp mod">
        <pc:chgData name="Pigoni, Federica" userId="5b98865d-aae9-45e4-90e8-c00ca68e335e" providerId="ADAL" clId="{2836EBBF-DF70-474B-B291-80DA72296CD5}" dt="2026-05-12T10:03:44.001" v="457"/>
        <pc:sldMkLst>
          <pc:docMk/>
          <pc:sldMk cId="2086456195" sldId="710"/>
        </pc:sldMkLst>
        <pc:spChg chg="del">
          <ac:chgData name="Pigoni, Federica" userId="5b98865d-aae9-45e4-90e8-c00ca68e335e" providerId="ADAL" clId="{2836EBBF-DF70-474B-B291-80DA72296CD5}" dt="2026-05-12T09:49:30.784" v="302" actId="478"/>
          <ac:spMkLst>
            <pc:docMk/>
            <pc:sldMk cId="2086456195" sldId="710"/>
            <ac:spMk id="2" creationId="{BFBA7D8A-637F-8C7E-EBBC-E74DE0E078BF}"/>
          </ac:spMkLst>
        </pc:spChg>
        <pc:spChg chg="mod">
          <ac:chgData name="Pigoni, Federica" userId="5b98865d-aae9-45e4-90e8-c00ca68e335e" providerId="ADAL" clId="{2836EBBF-DF70-474B-B291-80DA72296CD5}" dt="2026-05-12T09:53:24.153" v="376" actId="1038"/>
          <ac:spMkLst>
            <pc:docMk/>
            <pc:sldMk cId="2086456195" sldId="710"/>
            <ac:spMk id="5" creationId="{2BF4F4EE-F885-D741-F680-9CD58E78F543}"/>
          </ac:spMkLst>
        </pc:spChg>
        <pc:spChg chg="del mod">
          <ac:chgData name="Pigoni, Federica" userId="5b98865d-aae9-45e4-90e8-c00ca68e335e" providerId="ADAL" clId="{2836EBBF-DF70-474B-B291-80DA72296CD5}" dt="2026-05-12T09:53:42.156" v="377" actId="478"/>
          <ac:spMkLst>
            <pc:docMk/>
            <pc:sldMk cId="2086456195" sldId="710"/>
            <ac:spMk id="8" creationId="{2069115E-18C4-430B-41AD-3901BDFA1D2D}"/>
          </ac:spMkLst>
        </pc:spChg>
        <pc:spChg chg="mod topLvl">
          <ac:chgData name="Pigoni, Federica" userId="5b98865d-aae9-45e4-90e8-c00ca68e335e" providerId="ADAL" clId="{2836EBBF-DF70-474B-B291-80DA72296CD5}" dt="2026-05-12T09:53:24.153" v="376" actId="1038"/>
          <ac:spMkLst>
            <pc:docMk/>
            <pc:sldMk cId="2086456195" sldId="710"/>
            <ac:spMk id="11" creationId="{5A4A704D-FDA3-3D7C-D9AD-F9118B06BE1D}"/>
          </ac:spMkLst>
        </pc:spChg>
        <pc:spChg chg="mod topLvl">
          <ac:chgData name="Pigoni, Federica" userId="5b98865d-aae9-45e4-90e8-c00ca68e335e" providerId="ADAL" clId="{2836EBBF-DF70-474B-B291-80DA72296CD5}" dt="2026-05-12T09:51:30.965" v="332" actId="2085"/>
          <ac:spMkLst>
            <pc:docMk/>
            <pc:sldMk cId="2086456195" sldId="710"/>
            <ac:spMk id="12" creationId="{624621D8-EE56-A104-BFE9-C992275225E7}"/>
          </ac:spMkLst>
        </pc:spChg>
        <pc:spChg chg="mod topLvl">
          <ac:chgData name="Pigoni, Federica" userId="5b98865d-aae9-45e4-90e8-c00ca68e335e" providerId="ADAL" clId="{2836EBBF-DF70-474B-B291-80DA72296CD5}" dt="2026-05-12T09:50:59.878" v="324" actId="164"/>
          <ac:spMkLst>
            <pc:docMk/>
            <pc:sldMk cId="2086456195" sldId="710"/>
            <ac:spMk id="13" creationId="{29B7E196-EF9C-44C7-C748-E804E0749462}"/>
          </ac:spMkLst>
        </pc:spChg>
        <pc:spChg chg="mod topLvl">
          <ac:chgData name="Pigoni, Federica" userId="5b98865d-aae9-45e4-90e8-c00ca68e335e" providerId="ADAL" clId="{2836EBBF-DF70-474B-B291-80DA72296CD5}" dt="2026-05-12T09:50:59.878" v="324" actId="164"/>
          <ac:spMkLst>
            <pc:docMk/>
            <pc:sldMk cId="2086456195" sldId="710"/>
            <ac:spMk id="14" creationId="{A28BD9BC-BF67-C5E2-8620-6EB910733E66}"/>
          </ac:spMkLst>
        </pc:spChg>
        <pc:spChg chg="mod topLvl">
          <ac:chgData name="Pigoni, Federica" userId="5b98865d-aae9-45e4-90e8-c00ca68e335e" providerId="ADAL" clId="{2836EBBF-DF70-474B-B291-80DA72296CD5}" dt="2026-05-12T09:51:35.530" v="333" actId="2085"/>
          <ac:spMkLst>
            <pc:docMk/>
            <pc:sldMk cId="2086456195" sldId="710"/>
            <ac:spMk id="15" creationId="{D2D15DDB-C156-B39C-AA91-EA47D599ADBA}"/>
          </ac:spMkLst>
        </pc:spChg>
        <pc:spChg chg="mod topLvl">
          <ac:chgData name="Pigoni, Federica" userId="5b98865d-aae9-45e4-90e8-c00ca68e335e" providerId="ADAL" clId="{2836EBBF-DF70-474B-B291-80DA72296CD5}" dt="2026-05-12T09:50:55.488" v="322" actId="164"/>
          <ac:spMkLst>
            <pc:docMk/>
            <pc:sldMk cId="2086456195" sldId="710"/>
            <ac:spMk id="16" creationId="{6B3BBDAF-31E0-4AA3-BF5C-E87CDAF762B8}"/>
          </ac:spMkLst>
        </pc:spChg>
        <pc:spChg chg="mod">
          <ac:chgData name="Pigoni, Federica" userId="5b98865d-aae9-45e4-90e8-c00ca68e335e" providerId="ADAL" clId="{2836EBBF-DF70-474B-B291-80DA72296CD5}" dt="2026-05-12T09:50:55.488" v="322" actId="164"/>
          <ac:spMkLst>
            <pc:docMk/>
            <pc:sldMk cId="2086456195" sldId="710"/>
            <ac:spMk id="17" creationId="{CA2F8E90-D9B8-5360-DA05-BC2C04C02625}"/>
          </ac:spMkLst>
        </pc:spChg>
        <pc:spChg chg="mod">
          <ac:chgData name="Pigoni, Federica" userId="5b98865d-aae9-45e4-90e8-c00ca68e335e" providerId="ADAL" clId="{2836EBBF-DF70-474B-B291-80DA72296CD5}" dt="2026-05-12T09:51:42.294" v="335" actId="2085"/>
          <ac:spMkLst>
            <pc:docMk/>
            <pc:sldMk cId="2086456195" sldId="710"/>
            <ac:spMk id="18" creationId="{A12E482D-A8A0-FDA4-B07E-1BB2FF67DD79}"/>
          </ac:spMkLst>
        </pc:spChg>
        <pc:spChg chg="mod topLvl">
          <ac:chgData name="Pigoni, Federica" userId="5b98865d-aae9-45e4-90e8-c00ca68e335e" providerId="ADAL" clId="{2836EBBF-DF70-474B-B291-80DA72296CD5}" dt="2026-05-12T09:51:05.457" v="326" actId="164"/>
          <ac:spMkLst>
            <pc:docMk/>
            <pc:sldMk cId="2086456195" sldId="710"/>
            <ac:spMk id="25" creationId="{415A789A-B338-62B6-0B44-0853588488D8}"/>
          </ac:spMkLst>
        </pc:spChg>
        <pc:spChg chg="mod topLvl">
          <ac:chgData name="Pigoni, Federica" userId="5b98865d-aae9-45e4-90e8-c00ca68e335e" providerId="ADAL" clId="{2836EBBF-DF70-474B-B291-80DA72296CD5}" dt="2026-05-12T09:51:39.387" v="334" actId="2085"/>
          <ac:spMkLst>
            <pc:docMk/>
            <pc:sldMk cId="2086456195" sldId="710"/>
            <ac:spMk id="26" creationId="{F4EE6733-3E81-1EFD-6C9C-0D7F1F346D37}"/>
          </ac:spMkLst>
        </pc:spChg>
        <pc:spChg chg="mod">
          <ac:chgData name="Pigoni, Federica" userId="5b98865d-aae9-45e4-90e8-c00ca68e335e" providerId="ADAL" clId="{2836EBBF-DF70-474B-B291-80DA72296CD5}" dt="2026-05-12T09:51:05.457" v="326" actId="164"/>
          <ac:spMkLst>
            <pc:docMk/>
            <pc:sldMk cId="2086456195" sldId="710"/>
            <ac:spMk id="27" creationId="{FD77CB24-5FBC-50AE-BA2A-47FD386D8CCE}"/>
          </ac:spMkLst>
        </pc:spChg>
        <pc:spChg chg="mod topLvl">
          <ac:chgData name="Pigoni, Federica" userId="5b98865d-aae9-45e4-90e8-c00ca68e335e" providerId="ADAL" clId="{2836EBBF-DF70-474B-B291-80DA72296CD5}" dt="2026-05-12T09:51:12.686" v="328" actId="164"/>
          <ac:spMkLst>
            <pc:docMk/>
            <pc:sldMk cId="2086456195" sldId="710"/>
            <ac:spMk id="29" creationId="{F728B63E-B3AA-22E0-C4B2-0E570C461764}"/>
          </ac:spMkLst>
        </pc:spChg>
        <pc:spChg chg="mod topLvl">
          <ac:chgData name="Pigoni, Federica" userId="5b98865d-aae9-45e4-90e8-c00ca68e335e" providerId="ADAL" clId="{2836EBBF-DF70-474B-B291-80DA72296CD5}" dt="2026-05-12T09:51:12.686" v="328" actId="164"/>
          <ac:spMkLst>
            <pc:docMk/>
            <pc:sldMk cId="2086456195" sldId="710"/>
            <ac:spMk id="30" creationId="{224C7B7B-11A6-DF75-CA5B-715670F40F6E}"/>
          </ac:spMkLst>
        </pc:spChg>
        <pc:spChg chg="add mod">
          <ac:chgData name="Pigoni, Federica" userId="5b98865d-aae9-45e4-90e8-c00ca68e335e" providerId="ADAL" clId="{2836EBBF-DF70-474B-B291-80DA72296CD5}" dt="2026-05-12T09:53:44.486" v="381" actId="20577"/>
          <ac:spMkLst>
            <pc:docMk/>
            <pc:sldMk cId="2086456195" sldId="710"/>
            <ac:spMk id="31" creationId="{F46647AE-D963-B7E7-142F-8670535435E4}"/>
          </ac:spMkLst>
        </pc:spChg>
        <pc:spChg chg="mod topLvl">
          <ac:chgData name="Pigoni, Federica" userId="5b98865d-aae9-45e4-90e8-c00ca68e335e" providerId="ADAL" clId="{2836EBBF-DF70-474B-B291-80DA72296CD5}" dt="2026-05-12T09:51:53.279" v="338" actId="2085"/>
          <ac:spMkLst>
            <pc:docMk/>
            <pc:sldMk cId="2086456195" sldId="710"/>
            <ac:spMk id="32" creationId="{BB97B4EA-D15A-EB8B-6F03-28DC1EA365C6}"/>
          </ac:spMkLst>
        </pc:spChg>
        <pc:spChg chg="mod">
          <ac:chgData name="Pigoni, Federica" userId="5b98865d-aae9-45e4-90e8-c00ca68e335e" providerId="ADAL" clId="{2836EBBF-DF70-474B-B291-80DA72296CD5}" dt="2026-05-12T09:51:17.868" v="330" actId="164"/>
          <ac:spMkLst>
            <pc:docMk/>
            <pc:sldMk cId="2086456195" sldId="710"/>
            <ac:spMk id="33" creationId="{C576019F-8BB3-B149-CF1E-8229BBB42031}"/>
          </ac:spMkLst>
        </pc:spChg>
        <pc:spChg chg="add mod">
          <ac:chgData name="Pigoni, Federica" userId="5b98865d-aae9-45e4-90e8-c00ca68e335e" providerId="ADAL" clId="{2836EBBF-DF70-474B-B291-80DA72296CD5}" dt="2026-05-12T09:53:42.797" v="378"/>
          <ac:spMkLst>
            <pc:docMk/>
            <pc:sldMk cId="2086456195" sldId="710"/>
            <ac:spMk id="34" creationId="{9CE42492-5497-8FB8-A609-214BA15CE340}"/>
          </ac:spMkLst>
        </pc:spChg>
        <pc:spChg chg="mod topLvl">
          <ac:chgData name="Pigoni, Federica" userId="5b98865d-aae9-45e4-90e8-c00ca68e335e" providerId="ADAL" clId="{2836EBBF-DF70-474B-B291-80DA72296CD5}" dt="2026-05-12T09:51:17.868" v="330" actId="164"/>
          <ac:spMkLst>
            <pc:docMk/>
            <pc:sldMk cId="2086456195" sldId="710"/>
            <ac:spMk id="49" creationId="{B829041D-5A72-F6D8-9B44-3C49EA95F98E}"/>
          </ac:spMkLst>
        </pc:spChg>
        <pc:spChg chg="del mod">
          <ac:chgData name="Pigoni, Federica" userId="5b98865d-aae9-45e4-90e8-c00ca68e335e" providerId="ADAL" clId="{2836EBBF-DF70-474B-B291-80DA72296CD5}" dt="2026-05-12T09:53:42.156" v="377" actId="478"/>
          <ac:spMkLst>
            <pc:docMk/>
            <pc:sldMk cId="2086456195" sldId="710"/>
            <ac:spMk id="52" creationId="{7BC65CDF-B6DB-42C0-876F-4F21D3DCE671}"/>
          </ac:spMkLst>
        </pc:spChg>
        <pc:grpChg chg="add mod">
          <ac:chgData name="Pigoni, Federica" userId="5b98865d-aae9-45e4-90e8-c00ca68e335e" providerId="ADAL" clId="{2836EBBF-DF70-474B-B291-80DA72296CD5}" dt="2026-05-12T09:53:24.153" v="376" actId="1038"/>
          <ac:grpSpMkLst>
            <pc:docMk/>
            <pc:sldMk cId="2086456195" sldId="710"/>
            <ac:grpSpMk id="6" creationId="{A93CFEE3-5738-875E-D0BB-4E4878CEE899}"/>
          </ac:grpSpMkLst>
        </pc:grpChg>
        <pc:grpChg chg="add mod">
          <ac:chgData name="Pigoni, Federica" userId="5b98865d-aae9-45e4-90e8-c00ca68e335e" providerId="ADAL" clId="{2836EBBF-DF70-474B-B291-80DA72296CD5}" dt="2026-05-12T09:53:24.153" v="376" actId="1038"/>
          <ac:grpSpMkLst>
            <pc:docMk/>
            <pc:sldMk cId="2086456195" sldId="710"/>
            <ac:grpSpMk id="22" creationId="{4F969865-8B87-E855-A470-726562DAB3F9}"/>
          </ac:grpSpMkLst>
        </pc:grpChg>
        <pc:grpChg chg="add mod">
          <ac:chgData name="Pigoni, Federica" userId="5b98865d-aae9-45e4-90e8-c00ca68e335e" providerId="ADAL" clId="{2836EBBF-DF70-474B-B291-80DA72296CD5}" dt="2026-05-12T09:53:24.153" v="376" actId="1038"/>
          <ac:grpSpMkLst>
            <pc:docMk/>
            <pc:sldMk cId="2086456195" sldId="710"/>
            <ac:grpSpMk id="23" creationId="{31CC2DD4-4C14-8AA4-337F-689DE6FCBE24}"/>
          </ac:grpSpMkLst>
        </pc:grpChg>
        <pc:grpChg chg="add mod">
          <ac:chgData name="Pigoni, Federica" userId="5b98865d-aae9-45e4-90e8-c00ca68e335e" providerId="ADAL" clId="{2836EBBF-DF70-474B-B291-80DA72296CD5}" dt="2026-05-12T09:53:24.153" v="376" actId="1038"/>
          <ac:grpSpMkLst>
            <pc:docMk/>
            <pc:sldMk cId="2086456195" sldId="710"/>
            <ac:grpSpMk id="24" creationId="{8572E63C-4424-3053-AD40-580DDE1CEB45}"/>
          </ac:grpSpMkLst>
        </pc:grpChg>
        <pc:grpChg chg="add mod">
          <ac:chgData name="Pigoni, Federica" userId="5b98865d-aae9-45e4-90e8-c00ca68e335e" providerId="ADAL" clId="{2836EBBF-DF70-474B-B291-80DA72296CD5}" dt="2026-05-12T09:53:24.153" v="376" actId="1038"/>
          <ac:grpSpMkLst>
            <pc:docMk/>
            <pc:sldMk cId="2086456195" sldId="710"/>
            <ac:grpSpMk id="28" creationId="{88BA7B02-4BF8-1A92-D842-A01C4145C562}"/>
          </ac:grpSpMkLst>
        </pc:grpChg>
        <pc:graphicFrameChg chg="mod">
          <ac:chgData name="Pigoni, Federica" userId="5b98865d-aae9-45e4-90e8-c00ca68e335e" providerId="ADAL" clId="{2836EBBF-DF70-474B-B291-80DA72296CD5}" dt="2026-05-12T10:03:44.001" v="457"/>
          <ac:graphicFrameMkLst>
            <pc:docMk/>
            <pc:sldMk cId="2086456195" sldId="710"/>
            <ac:graphicFrameMk id="7" creationId="{E18F7684-2C1D-0F0B-A8C9-AAE6673FEF44}"/>
          </ac:graphicFrameMkLst>
        </pc:graphicFrameChg>
      </pc:sldChg>
      <pc:sldChg chg="addSp delSp modSp mod">
        <pc:chgData name="Pigoni, Federica" userId="5b98865d-aae9-45e4-90e8-c00ca68e335e" providerId="ADAL" clId="{2836EBBF-DF70-474B-B291-80DA72296CD5}" dt="2026-05-12T10:04:13.866" v="465" actId="1035"/>
        <pc:sldMkLst>
          <pc:docMk/>
          <pc:sldMk cId="89833404" sldId="711"/>
        </pc:sldMkLst>
        <pc:spChg chg="mod">
          <ac:chgData name="Pigoni, Federica" userId="5b98865d-aae9-45e4-90e8-c00ca68e335e" providerId="ADAL" clId="{2836EBBF-DF70-474B-B291-80DA72296CD5}" dt="2026-05-12T10:04:13.866" v="465" actId="1035"/>
          <ac:spMkLst>
            <pc:docMk/>
            <pc:sldMk cId="89833404" sldId="711"/>
            <ac:spMk id="2" creationId="{D2A04F9B-C0E6-1C59-96BD-7B0ECB12FF45}"/>
          </ac:spMkLst>
        </pc:spChg>
        <pc:spChg chg="mod">
          <ac:chgData name="Pigoni, Federica" userId="5b98865d-aae9-45e4-90e8-c00ca68e335e" providerId="ADAL" clId="{2836EBBF-DF70-474B-B291-80DA72296CD5}" dt="2026-05-12T10:03:21.159" v="455" actId="20577"/>
          <ac:spMkLst>
            <pc:docMk/>
            <pc:sldMk cId="89833404" sldId="711"/>
            <ac:spMk id="5" creationId="{BAE7336E-7BD5-1FBC-C7A8-63087133D6D7}"/>
          </ac:spMkLst>
        </pc:spChg>
        <pc:spChg chg="add mod">
          <ac:chgData name="Pigoni, Federica" userId="5b98865d-aae9-45e4-90e8-c00ca68e335e" providerId="ADAL" clId="{2836EBBF-DF70-474B-B291-80DA72296CD5}" dt="2026-05-12T09:55:09.444" v="387" actId="20577"/>
          <ac:spMkLst>
            <pc:docMk/>
            <pc:sldMk cId="89833404" sldId="711"/>
            <ac:spMk id="6" creationId="{075FAA0D-2E5F-CAC4-F021-114F41E231E0}"/>
          </ac:spMkLst>
        </pc:spChg>
        <pc:spChg chg="del">
          <ac:chgData name="Pigoni, Federica" userId="5b98865d-aae9-45e4-90e8-c00ca68e335e" providerId="ADAL" clId="{2836EBBF-DF70-474B-B291-80DA72296CD5}" dt="2026-05-12T09:55:07.149" v="382" actId="478"/>
          <ac:spMkLst>
            <pc:docMk/>
            <pc:sldMk cId="89833404" sldId="711"/>
            <ac:spMk id="8" creationId="{AB2D80C2-BFAE-B9EC-078F-EDF9749209BE}"/>
          </ac:spMkLst>
        </pc:spChg>
        <pc:spChg chg="mod">
          <ac:chgData name="Pigoni, Federica" userId="5b98865d-aae9-45e4-90e8-c00ca68e335e" providerId="ADAL" clId="{2836EBBF-DF70-474B-B291-80DA72296CD5}" dt="2026-05-12T10:01:04.264" v="406" actId="108"/>
          <ac:spMkLst>
            <pc:docMk/>
            <pc:sldMk cId="89833404" sldId="711"/>
            <ac:spMk id="11" creationId="{8A72E347-A63A-1D3F-AAD1-92E0EF354C68}"/>
          </ac:spMkLst>
        </pc:spChg>
        <pc:spChg chg="mod topLvl">
          <ac:chgData name="Pigoni, Federica" userId="5b98865d-aae9-45e4-90e8-c00ca68e335e" providerId="ADAL" clId="{2836EBBF-DF70-474B-B291-80DA72296CD5}" dt="2026-05-12T10:03:16.161" v="454" actId="1038"/>
          <ac:spMkLst>
            <pc:docMk/>
            <pc:sldMk cId="89833404" sldId="711"/>
            <ac:spMk id="12" creationId="{8A5CED71-FE41-BA5E-76FD-844C2D260A5F}"/>
          </ac:spMkLst>
        </pc:spChg>
        <pc:spChg chg="mod topLvl">
          <ac:chgData name="Pigoni, Federica" userId="5b98865d-aae9-45e4-90e8-c00ca68e335e" providerId="ADAL" clId="{2836EBBF-DF70-474B-B291-80DA72296CD5}" dt="2026-05-12T10:03:06.538" v="450" actId="12788"/>
          <ac:spMkLst>
            <pc:docMk/>
            <pc:sldMk cId="89833404" sldId="711"/>
            <ac:spMk id="13" creationId="{3CF4FE4D-5974-A967-09EF-48EE2CE19057}"/>
          </ac:spMkLst>
        </pc:spChg>
        <pc:spChg chg="mod">
          <ac:chgData name="Pigoni, Federica" userId="5b98865d-aae9-45e4-90e8-c00ca68e335e" providerId="ADAL" clId="{2836EBBF-DF70-474B-B291-80DA72296CD5}" dt="2026-05-12T10:02:47.421" v="447" actId="164"/>
          <ac:spMkLst>
            <pc:docMk/>
            <pc:sldMk cId="89833404" sldId="711"/>
            <ac:spMk id="14" creationId="{330160E1-E231-AF5A-F10E-CD12921BD1AE}"/>
          </ac:spMkLst>
        </pc:spChg>
        <pc:spChg chg="mod">
          <ac:chgData name="Pigoni, Federica" userId="5b98865d-aae9-45e4-90e8-c00ca68e335e" providerId="ADAL" clId="{2836EBBF-DF70-474B-B291-80DA72296CD5}" dt="2026-05-12T10:03:16.161" v="454" actId="1038"/>
          <ac:spMkLst>
            <pc:docMk/>
            <pc:sldMk cId="89833404" sldId="711"/>
            <ac:spMk id="15" creationId="{D5D597FD-5D41-166A-D7E1-897D9E742497}"/>
          </ac:spMkLst>
        </pc:spChg>
        <pc:spChg chg="mod topLvl">
          <ac:chgData name="Pigoni, Federica" userId="5b98865d-aae9-45e4-90e8-c00ca68e335e" providerId="ADAL" clId="{2836EBBF-DF70-474B-B291-80DA72296CD5}" dt="2026-05-12T10:03:06.538" v="450" actId="12788"/>
          <ac:spMkLst>
            <pc:docMk/>
            <pc:sldMk cId="89833404" sldId="711"/>
            <ac:spMk id="16" creationId="{65449B0E-C001-9505-A3DD-C17F821D6FB8}"/>
          </ac:spMkLst>
        </pc:spChg>
        <pc:spChg chg="mod topLvl">
          <ac:chgData name="Pigoni, Federica" userId="5b98865d-aae9-45e4-90e8-c00ca68e335e" providerId="ADAL" clId="{2836EBBF-DF70-474B-B291-80DA72296CD5}" dt="2026-05-12T10:02:55.381" v="449" actId="165"/>
          <ac:spMkLst>
            <pc:docMk/>
            <pc:sldMk cId="89833404" sldId="711"/>
            <ac:spMk id="17" creationId="{260DBEDB-E741-A6E0-A4FB-38E09FF046B4}"/>
          </ac:spMkLst>
        </pc:spChg>
        <pc:spChg chg="mod topLvl">
          <ac:chgData name="Pigoni, Federica" userId="5b98865d-aae9-45e4-90e8-c00ca68e335e" providerId="ADAL" clId="{2836EBBF-DF70-474B-B291-80DA72296CD5}" dt="2026-05-12T10:03:16.161" v="454" actId="1038"/>
          <ac:spMkLst>
            <pc:docMk/>
            <pc:sldMk cId="89833404" sldId="711"/>
            <ac:spMk id="18" creationId="{3BE4E4A4-001A-A5E4-8325-DFC970BF25C0}"/>
          </ac:spMkLst>
        </pc:spChg>
        <pc:spChg chg="add mod">
          <ac:chgData name="Pigoni, Federica" userId="5b98865d-aae9-45e4-90e8-c00ca68e335e" providerId="ADAL" clId="{2836EBBF-DF70-474B-B291-80DA72296CD5}" dt="2026-05-12T09:55:07.574" v="383"/>
          <ac:spMkLst>
            <pc:docMk/>
            <pc:sldMk cId="89833404" sldId="711"/>
            <ac:spMk id="21" creationId="{5E93C377-0E2F-FEAD-94AB-CBA5E9095016}"/>
          </ac:spMkLst>
        </pc:spChg>
        <pc:spChg chg="mod topLvl">
          <ac:chgData name="Pigoni, Federica" userId="5b98865d-aae9-45e4-90e8-c00ca68e335e" providerId="ADAL" clId="{2836EBBF-DF70-474B-B291-80DA72296CD5}" dt="2026-05-12T10:03:06.538" v="450" actId="12788"/>
          <ac:spMkLst>
            <pc:docMk/>
            <pc:sldMk cId="89833404" sldId="711"/>
            <ac:spMk id="25" creationId="{FA51966F-CD35-DFBE-8281-0124911714DE}"/>
          </ac:spMkLst>
        </pc:spChg>
        <pc:spChg chg="mod topLvl">
          <ac:chgData name="Pigoni, Federica" userId="5b98865d-aae9-45e4-90e8-c00ca68e335e" providerId="ADAL" clId="{2836EBBF-DF70-474B-B291-80DA72296CD5}" dt="2026-05-12T10:03:16.161" v="454" actId="1038"/>
          <ac:spMkLst>
            <pc:docMk/>
            <pc:sldMk cId="89833404" sldId="711"/>
            <ac:spMk id="26" creationId="{F2E90ACC-BCE8-A593-B2C1-8BD4F4673397}"/>
          </ac:spMkLst>
        </pc:spChg>
        <pc:spChg chg="mod topLvl">
          <ac:chgData name="Pigoni, Federica" userId="5b98865d-aae9-45e4-90e8-c00ca68e335e" providerId="ADAL" clId="{2836EBBF-DF70-474B-B291-80DA72296CD5}" dt="2026-05-12T10:02:55.381" v="449" actId="165"/>
          <ac:spMkLst>
            <pc:docMk/>
            <pc:sldMk cId="89833404" sldId="711"/>
            <ac:spMk id="27" creationId="{A1DAFD9A-EE95-0AF7-8C84-7A26AB72FBBD}"/>
          </ac:spMkLst>
        </pc:spChg>
        <pc:spChg chg="mod topLvl">
          <ac:chgData name="Pigoni, Federica" userId="5b98865d-aae9-45e4-90e8-c00ca68e335e" providerId="ADAL" clId="{2836EBBF-DF70-474B-B291-80DA72296CD5}" dt="2026-05-12T10:03:06.538" v="450" actId="12788"/>
          <ac:spMkLst>
            <pc:docMk/>
            <pc:sldMk cId="89833404" sldId="711"/>
            <ac:spMk id="29" creationId="{37B09DC4-5110-BACE-3C6C-56F9F1855A3A}"/>
          </ac:spMkLst>
        </pc:spChg>
        <pc:spChg chg="mod topLvl">
          <ac:chgData name="Pigoni, Federica" userId="5b98865d-aae9-45e4-90e8-c00ca68e335e" providerId="ADAL" clId="{2836EBBF-DF70-474B-B291-80DA72296CD5}" dt="2026-05-12T10:02:55.381" v="449" actId="165"/>
          <ac:spMkLst>
            <pc:docMk/>
            <pc:sldMk cId="89833404" sldId="711"/>
            <ac:spMk id="30" creationId="{353011C2-D10C-A1B0-9F19-D5B998503BA3}"/>
          </ac:spMkLst>
        </pc:spChg>
        <pc:spChg chg="mod topLvl">
          <ac:chgData name="Pigoni, Federica" userId="5b98865d-aae9-45e4-90e8-c00ca68e335e" providerId="ADAL" clId="{2836EBBF-DF70-474B-B291-80DA72296CD5}" dt="2026-05-12T10:03:16.161" v="454" actId="1038"/>
          <ac:spMkLst>
            <pc:docMk/>
            <pc:sldMk cId="89833404" sldId="711"/>
            <ac:spMk id="32" creationId="{3F6E42FB-72F8-9B7A-1006-CA85ED0A834F}"/>
          </ac:spMkLst>
        </pc:spChg>
        <pc:spChg chg="mod topLvl">
          <ac:chgData name="Pigoni, Federica" userId="5b98865d-aae9-45e4-90e8-c00ca68e335e" providerId="ADAL" clId="{2836EBBF-DF70-474B-B291-80DA72296CD5}" dt="2026-05-12T10:03:06.538" v="450" actId="12788"/>
          <ac:spMkLst>
            <pc:docMk/>
            <pc:sldMk cId="89833404" sldId="711"/>
            <ac:spMk id="33" creationId="{733DB343-7F86-7803-B889-BA77089CFFC1}"/>
          </ac:spMkLst>
        </pc:spChg>
        <pc:spChg chg="mod topLvl">
          <ac:chgData name="Pigoni, Federica" userId="5b98865d-aae9-45e4-90e8-c00ca68e335e" providerId="ADAL" clId="{2836EBBF-DF70-474B-B291-80DA72296CD5}" dt="2026-05-12T10:02:55.381" v="449" actId="165"/>
          <ac:spMkLst>
            <pc:docMk/>
            <pc:sldMk cId="89833404" sldId="711"/>
            <ac:spMk id="49" creationId="{648CDD1F-343B-C99C-6D18-11B794EF0765}"/>
          </ac:spMkLst>
        </pc:spChg>
        <pc:spChg chg="del">
          <ac:chgData name="Pigoni, Federica" userId="5b98865d-aae9-45e4-90e8-c00ca68e335e" providerId="ADAL" clId="{2836EBBF-DF70-474B-B291-80DA72296CD5}" dt="2026-05-12T09:55:07.149" v="382" actId="478"/>
          <ac:spMkLst>
            <pc:docMk/>
            <pc:sldMk cId="89833404" sldId="711"/>
            <ac:spMk id="52" creationId="{84E0D145-B39F-103A-E59C-6D2B81A05657}"/>
          </ac:spMkLst>
        </pc:spChg>
        <pc:grpChg chg="add mod">
          <ac:chgData name="Pigoni, Federica" userId="5b98865d-aae9-45e4-90e8-c00ca68e335e" providerId="ADAL" clId="{2836EBBF-DF70-474B-B291-80DA72296CD5}" dt="2026-05-12T10:01:51.986" v="415" actId="164"/>
          <ac:grpSpMkLst>
            <pc:docMk/>
            <pc:sldMk cId="89833404" sldId="711"/>
            <ac:grpSpMk id="23" creationId="{EB81AF97-9DD6-B11C-B612-F27D9AC8C997}"/>
          </ac:grpSpMkLst>
        </pc:grpChg>
        <pc:grpChg chg="add mod">
          <ac:chgData name="Pigoni, Federica" userId="5b98865d-aae9-45e4-90e8-c00ca68e335e" providerId="ADAL" clId="{2836EBBF-DF70-474B-B291-80DA72296CD5}" dt="2026-05-12T10:02:52.837" v="448" actId="465"/>
          <ac:grpSpMkLst>
            <pc:docMk/>
            <pc:sldMk cId="89833404" sldId="711"/>
            <ac:grpSpMk id="24" creationId="{99F4E081-2B4D-A1D0-EC8A-8DAC54CAC4E1}"/>
          </ac:grpSpMkLst>
        </pc:grpChg>
        <pc:grpChg chg="add mod">
          <ac:chgData name="Pigoni, Federica" userId="5b98865d-aae9-45e4-90e8-c00ca68e335e" providerId="ADAL" clId="{2836EBBF-DF70-474B-B291-80DA72296CD5}" dt="2026-05-12T10:02:52.837" v="448" actId="465"/>
          <ac:grpSpMkLst>
            <pc:docMk/>
            <pc:sldMk cId="89833404" sldId="711"/>
            <ac:grpSpMk id="28" creationId="{92B8329B-2F7C-B0AB-0D5C-45E04CB587A9}"/>
          </ac:grpSpMkLst>
        </pc:grpChg>
        <pc:grpChg chg="add mod">
          <ac:chgData name="Pigoni, Federica" userId="5b98865d-aae9-45e4-90e8-c00ca68e335e" providerId="ADAL" clId="{2836EBBF-DF70-474B-B291-80DA72296CD5}" dt="2026-05-12T10:02:52.837" v="448" actId="465"/>
          <ac:grpSpMkLst>
            <pc:docMk/>
            <pc:sldMk cId="89833404" sldId="711"/>
            <ac:grpSpMk id="31" creationId="{72E52114-6B29-68A4-9179-E7EFBF95EFB3}"/>
          </ac:grpSpMkLst>
        </pc:grpChg>
        <pc:grpChg chg="add mod">
          <ac:chgData name="Pigoni, Federica" userId="5b98865d-aae9-45e4-90e8-c00ca68e335e" providerId="ADAL" clId="{2836EBBF-DF70-474B-B291-80DA72296CD5}" dt="2026-05-12T10:02:32.371" v="444" actId="164"/>
          <ac:grpSpMkLst>
            <pc:docMk/>
            <pc:sldMk cId="89833404" sldId="711"/>
            <ac:grpSpMk id="34" creationId="{56F1DFD0-302A-1573-DF72-4D1160C3CFF8}"/>
          </ac:grpSpMkLst>
        </pc:grpChg>
        <pc:grpChg chg="add mod">
          <ac:chgData name="Pigoni, Federica" userId="5b98865d-aae9-45e4-90e8-c00ca68e335e" providerId="ADAL" clId="{2836EBBF-DF70-474B-B291-80DA72296CD5}" dt="2026-05-12T10:02:47.421" v="447" actId="164"/>
          <ac:grpSpMkLst>
            <pc:docMk/>
            <pc:sldMk cId="89833404" sldId="711"/>
            <ac:grpSpMk id="35" creationId="{5D498DC5-E6DE-690C-3741-4AC609C51FD2}"/>
          </ac:grpSpMkLst>
        </pc:grpChg>
        <pc:graphicFrameChg chg="mod">
          <ac:chgData name="Pigoni, Federica" userId="5b98865d-aae9-45e4-90e8-c00ca68e335e" providerId="ADAL" clId="{2836EBBF-DF70-474B-B291-80DA72296CD5}" dt="2026-05-12T10:04:12.017" v="464" actId="207"/>
          <ac:graphicFrameMkLst>
            <pc:docMk/>
            <pc:sldMk cId="89833404" sldId="711"/>
            <ac:graphicFrameMk id="7" creationId="{EB9D0C3A-8E2D-28CA-B7AC-249255302363}"/>
          </ac:graphicFrameMkLst>
        </pc:graphicFrameChg>
      </pc:sldChg>
      <pc:sldChg chg="modSp mod">
        <pc:chgData name="Pigoni, Federica" userId="5b98865d-aae9-45e4-90e8-c00ca68e335e" providerId="ADAL" clId="{2836EBBF-DF70-474B-B291-80DA72296CD5}" dt="2026-05-12T10:16:51.738" v="471" actId="114"/>
        <pc:sldMkLst>
          <pc:docMk/>
          <pc:sldMk cId="3888305542" sldId="713"/>
        </pc:sldMkLst>
        <pc:spChg chg="mod">
          <ac:chgData name="Pigoni, Federica" userId="5b98865d-aae9-45e4-90e8-c00ca68e335e" providerId="ADAL" clId="{2836EBBF-DF70-474B-B291-80DA72296CD5}" dt="2026-05-12T10:16:51.738" v="471" actId="114"/>
          <ac:spMkLst>
            <pc:docMk/>
            <pc:sldMk cId="3888305542" sldId="713"/>
            <ac:spMk id="27" creationId="{4949E1D5-DAC4-C354-29C5-CB4F105F26BE}"/>
          </ac:spMkLst>
        </pc:spChg>
      </pc:sldChg>
      <pc:sldChg chg="modSp mod">
        <pc:chgData name="Pigoni, Federica" userId="5b98865d-aae9-45e4-90e8-c00ca68e335e" providerId="ADAL" clId="{2836EBBF-DF70-474B-B291-80DA72296CD5}" dt="2026-05-12T10:22:56.506" v="480" actId="6549"/>
        <pc:sldMkLst>
          <pc:docMk/>
          <pc:sldMk cId="615184241" sldId="718"/>
        </pc:sldMkLst>
        <pc:spChg chg="mod">
          <ac:chgData name="Pigoni, Federica" userId="5b98865d-aae9-45e4-90e8-c00ca68e335e" providerId="ADAL" clId="{2836EBBF-DF70-474B-B291-80DA72296CD5}" dt="2026-05-12T10:22:56.506" v="480" actId="6549"/>
          <ac:spMkLst>
            <pc:docMk/>
            <pc:sldMk cId="615184241" sldId="718"/>
            <ac:spMk id="23" creationId="{F66B9767-9D2E-B2C7-055C-19E614193B5A}"/>
          </ac:spMkLst>
        </pc:spChg>
      </pc:sldChg>
      <pc:sldChg chg="modSp mod">
        <pc:chgData name="Pigoni, Federica" userId="5b98865d-aae9-45e4-90e8-c00ca68e335e" providerId="ADAL" clId="{2836EBBF-DF70-474B-B291-80DA72296CD5}" dt="2026-05-12T10:17:37.541" v="472" actId="114"/>
        <pc:sldMkLst>
          <pc:docMk/>
          <pc:sldMk cId="3549837619" sldId="723"/>
        </pc:sldMkLst>
        <pc:spChg chg="mod">
          <ac:chgData name="Pigoni, Federica" userId="5b98865d-aae9-45e4-90e8-c00ca68e335e" providerId="ADAL" clId="{2836EBBF-DF70-474B-B291-80DA72296CD5}" dt="2026-05-12T10:17:37.541" v="472" actId="114"/>
          <ac:spMkLst>
            <pc:docMk/>
            <pc:sldMk cId="3549837619" sldId="723"/>
            <ac:spMk id="34" creationId="{2B9E8EED-66BC-2806-14C6-782734F3B2F6}"/>
          </ac:spMkLst>
        </pc:spChg>
      </pc:sldChg>
      <pc:sldChg chg="modSp mod">
        <pc:chgData name="Pigoni, Federica" userId="5b98865d-aae9-45e4-90e8-c00ca68e335e" providerId="ADAL" clId="{2836EBBF-DF70-474B-B291-80DA72296CD5}" dt="2026-05-12T10:18:21.573" v="474" actId="114"/>
        <pc:sldMkLst>
          <pc:docMk/>
          <pc:sldMk cId="1000633261" sldId="725"/>
        </pc:sldMkLst>
        <pc:spChg chg="mod">
          <ac:chgData name="Pigoni, Federica" userId="5b98865d-aae9-45e4-90e8-c00ca68e335e" providerId="ADAL" clId="{2836EBBF-DF70-474B-B291-80DA72296CD5}" dt="2026-05-12T10:18:21.573" v="474" actId="114"/>
          <ac:spMkLst>
            <pc:docMk/>
            <pc:sldMk cId="1000633261" sldId="725"/>
            <ac:spMk id="15" creationId="{5D2605C9-76F0-3132-AF45-ACD1207F7C11}"/>
          </ac:spMkLst>
        </pc:spChg>
      </pc:sldChg>
      <pc:sldChg chg="modSp mod">
        <pc:chgData name="Pigoni, Federica" userId="5b98865d-aae9-45e4-90e8-c00ca68e335e" providerId="ADAL" clId="{2836EBBF-DF70-474B-B291-80DA72296CD5}" dt="2026-05-12T15:01:34.038" v="850" actId="6549"/>
        <pc:sldMkLst>
          <pc:docMk/>
          <pc:sldMk cId="2218762329" sldId="730"/>
        </pc:sldMkLst>
        <pc:spChg chg="mod">
          <ac:chgData name="Pigoni, Federica" userId="5b98865d-aae9-45e4-90e8-c00ca68e335e" providerId="ADAL" clId="{2836EBBF-DF70-474B-B291-80DA72296CD5}" dt="2026-05-12T14:56:05.263" v="562" actId="1035"/>
          <ac:spMkLst>
            <pc:docMk/>
            <pc:sldMk cId="2218762329" sldId="730"/>
            <ac:spMk id="9" creationId="{8C6BC051-3A1F-2FC8-0D8A-6905A8D70025}"/>
          </ac:spMkLst>
        </pc:spChg>
        <pc:spChg chg="mod">
          <ac:chgData name="Pigoni, Federica" userId="5b98865d-aae9-45e4-90e8-c00ca68e335e" providerId="ADAL" clId="{2836EBBF-DF70-474B-B291-80DA72296CD5}" dt="2026-05-12T15:01:34.038" v="850" actId="6549"/>
          <ac:spMkLst>
            <pc:docMk/>
            <pc:sldMk cId="2218762329" sldId="730"/>
            <ac:spMk id="16" creationId="{189F8B5F-5CA1-C2D4-8B2E-828B4E065BBA}"/>
          </ac:spMkLst>
        </pc:spChg>
        <pc:spChg chg="mod">
          <ac:chgData name="Pigoni, Federica" userId="5b98865d-aae9-45e4-90e8-c00ca68e335e" providerId="ADAL" clId="{2836EBBF-DF70-474B-B291-80DA72296CD5}" dt="2026-05-12T10:23:04.386" v="482" actId="6549"/>
          <ac:spMkLst>
            <pc:docMk/>
            <pc:sldMk cId="2218762329" sldId="730"/>
            <ac:spMk id="23" creationId="{9D894D35-DB26-795E-A63C-A31AA6B264B6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2C4_EE0B973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2C5_4CD6919E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2C6_7C5CCB8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2C7_55ABFBC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2DB_F21F093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_14F_68699AB0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2DA_843FA05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rogrammi in cui sono state svolte verifiche di gestione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522-41B9-8A8E-853E351F01F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522-41B9-8A8E-853E351F01F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522-41B9-8A8E-853E351F01F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522-41B9-8A8E-853E351F01F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9522-41B9-8A8E-853E351F01FF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522-41B9-8A8E-853E351F01FF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9522-41B9-8A8E-853E351F01FF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522-41B9-8A8E-853E351F01FF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522-41B9-8A8E-853E351F01FF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522-41B9-8A8E-853E351F01FF}"/>
                </c:ext>
              </c:extLst>
            </c:dLbl>
            <c:dLbl>
              <c:idx val="1"/>
              <c:layout>
                <c:manualLayout>
                  <c:x val="-0.15487090868802897"/>
                  <c:y val="3.665240287628597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522-41B9-8A8E-853E351F01FF}"/>
                </c:ext>
              </c:extLst>
            </c:dLbl>
            <c:dLbl>
              <c:idx val="2"/>
              <c:layout>
                <c:manualLayout>
                  <c:x val="-6.0437427780694226E-2"/>
                  <c:y val="-0.12386622178682004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522-41B9-8A8E-853E351F01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</c:f>
              <c:strCache>
                <c:ptCount val="1"/>
                <c:pt idx="0">
                  <c:v>Verifiche al 100%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522-41B9-8A8E-853E351F01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 err="1"/>
              <a:t>Tipologie</a:t>
            </a:r>
            <a:r>
              <a:rPr lang="en-US" b="1"/>
              <a:t> di </a:t>
            </a:r>
            <a:r>
              <a:rPr lang="en-US" b="1" err="1"/>
              <a:t>Verifiche</a:t>
            </a:r>
            <a:r>
              <a:rPr lang="en-US" b="1"/>
              <a:t> di </a:t>
            </a:r>
            <a:r>
              <a:rPr lang="en-US" b="1" err="1"/>
              <a:t>Gestione</a:t>
            </a:r>
            <a:r>
              <a:rPr lang="en-US" b="1"/>
              <a:t> </a:t>
            </a:r>
            <a:r>
              <a:rPr lang="en-US" b="1" err="1"/>
              <a:t>effettuate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9901149382385289"/>
          <c:y val="0.21210178350751688"/>
          <c:w val="0.41402849400446695"/>
          <c:h val="0.6704861123561433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rifiche di Gestion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D2D-45D7-B7D9-B0D45575F34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D2D-45D7-B7D9-B0D45575F341}"/>
              </c:ext>
            </c:extLst>
          </c:dPt>
          <c:dPt>
            <c:idx val="2"/>
            <c:bubble3D val="0"/>
            <c:explosion val="33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BD2D-45D7-B7D9-B0D45575F341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D2D-45D7-B7D9-B0D45575F341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59F71142-5D32-49C2-BD32-588B68723180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D2D-45D7-B7D9-B0D45575F34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6B7ACC3-96C2-4866-91A8-93907D75085F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D2D-45D7-B7D9-B0D45575F34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605C4D8-4172-4B3B-8691-D763A96B3915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D2D-45D7-B7D9-B0D45575F341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97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9BA0290-F3C1-44C9-B456-E5160B3E8605}" type="VALUE">
                      <a:rPr lang="en-US" b="1">
                        <a:solidFill>
                          <a:schemeClr val="bg1"/>
                        </a:solidFill>
                      </a:rPr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D2D-45D7-B7D9-B0D45575F3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5</c:f>
              <c:strCache>
                <c:ptCount val="4"/>
                <c:pt idx="0">
                  <c:v>100% Analisi rischi</c:v>
                </c:pt>
                <c:pt idx="1">
                  <c:v>100% Ridotte operazioni</c:v>
                </c:pt>
                <c:pt idx="2">
                  <c:v>A campione</c:v>
                </c:pt>
                <c:pt idx="3">
                  <c:v>Non effettuate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6</c:v>
                </c:pt>
                <c:pt idx="1">
                  <c:v>6</c:v>
                </c:pt>
                <c:pt idx="2">
                  <c:v>2</c:v>
                </c:pt>
                <c:pt idx="3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2D-45D7-B7D9-B0D45575F341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6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60" b="1" i="0" u="none" strike="noStrike" kern="1200" spc="0" baseline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ologie</a:t>
            </a:r>
            <a:r>
              <a:rPr lang="en-US" sz="186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</a:t>
            </a:r>
            <a:r>
              <a:rPr lang="en-US" sz="1860" b="1" i="0" u="none" strike="noStrike" kern="1200" spc="0" baseline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he</a:t>
            </a:r>
            <a:r>
              <a:rPr lang="en-US" sz="186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</a:t>
            </a:r>
            <a:r>
              <a:rPr lang="en-US" sz="1860" b="1" i="0" u="none" strike="noStrike" kern="1200" spc="0" baseline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e</a:t>
            </a:r>
            <a:r>
              <a:rPr lang="en-US" sz="186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60" b="1" i="0" u="none" strike="noStrike" kern="1200" spc="0" baseline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ttuate</a:t>
            </a:r>
            <a:endParaRPr lang="en-US" sz="186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9.5960872463592625E-2"/>
          <c:y val="3.3658879185826168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8084828437426024"/>
          <c:y val="0.10902110968289096"/>
          <c:w val="0.4464402123337719"/>
          <c:h val="0.7387183122854909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ipologia di verifiche di gestion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5CBC-4F0E-B089-4BA2095657F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5CBC-4F0E-B089-4BA2095657F7}"/>
              </c:ext>
            </c:extLst>
          </c:dPt>
          <c:dPt>
            <c:idx val="2"/>
            <c:bubble3D val="0"/>
            <c:explosion val="19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CBC-4F0E-B089-4BA2095657F7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CBC-4F0E-B089-4BA2095657F7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CBC-4F0E-B089-4BA2095657F7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CBC-4F0E-B089-4BA2095657F7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CBC-4F0E-B089-4BA2095657F7}"/>
                </c:ext>
              </c:extLst>
            </c:dLbl>
            <c:dLbl>
              <c:idx val="3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CBC-4F0E-B089-4BA2095657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5</c:f>
              <c:strCache>
                <c:ptCount val="4"/>
                <c:pt idx="0">
                  <c:v>100% Analisi rischi</c:v>
                </c:pt>
                <c:pt idx="1">
                  <c:v>100% Ridotte operazioni</c:v>
                </c:pt>
                <c:pt idx="2">
                  <c:v>A campione</c:v>
                </c:pt>
                <c:pt idx="3">
                  <c:v>Non effettuate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10</c:v>
                </c:pt>
                <c:pt idx="1">
                  <c:v>10</c:v>
                </c:pt>
                <c:pt idx="2">
                  <c:v>16</c:v>
                </c:pt>
                <c:pt idx="3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BC-4F0E-B089-4BA2095657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</c:legendEntry>
      <c:layout>
        <c:manualLayout>
          <c:xMode val="edge"/>
          <c:yMode val="edge"/>
          <c:x val="5.0000016016970301E-2"/>
          <c:y val="0.93188661993294719"/>
          <c:w val="0.89999996796605941"/>
          <c:h val="6.47474921484701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 </a:t>
            </a:r>
            <a:r>
              <a:rPr lang="en-US" sz="1860" b="1" i="0" u="none" strike="noStrike" kern="1200" spc="0" baseline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pologie</a:t>
            </a:r>
            <a:r>
              <a:rPr lang="en-US" sz="186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i </a:t>
            </a:r>
            <a:r>
              <a:rPr lang="en-US" sz="1860" b="1" i="0" u="none" strike="noStrike" kern="1200" spc="0" baseline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rifiche</a:t>
            </a:r>
            <a:r>
              <a:rPr lang="en-US" sz="186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i </a:t>
            </a:r>
            <a:r>
              <a:rPr lang="en-US" sz="1860" b="1" i="0" u="none" strike="noStrike" kern="1200" spc="0" baseline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stione</a:t>
            </a:r>
            <a:r>
              <a:rPr lang="en-US" sz="186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860" b="1" i="0" u="none" strike="noStrike" kern="1200" spc="0" baseline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ffettuate</a:t>
            </a:r>
            <a:endParaRPr lang="en-US" sz="186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rifiche gestioe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2E9-40D2-95B9-336B25B0AD0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E83-4324-B0EF-1BB57260047A}"/>
              </c:ext>
            </c:extLst>
          </c:dPt>
          <c:dPt>
            <c:idx val="2"/>
            <c:bubble3D val="0"/>
            <c:explosion val="19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E9-40D2-95B9-336B25B0AD04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E83-4324-B0EF-1BB57260047A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E83-4324-B0EF-1BB57260047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6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E83-4324-B0EF-1BB5726004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5</c:f>
              <c:strCache>
                <c:ptCount val="4"/>
                <c:pt idx="0">
                  <c:v>100% Analisi rischi</c:v>
                </c:pt>
                <c:pt idx="1">
                  <c:v>100% Ridotte operazioni</c:v>
                </c:pt>
                <c:pt idx="2">
                  <c:v>Campionamento</c:v>
                </c:pt>
                <c:pt idx="3">
                  <c:v>N/D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10</c:v>
                </c:pt>
                <c:pt idx="1">
                  <c:v>4</c:v>
                </c:pt>
                <c:pt idx="2">
                  <c:v>29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83-4324-B0EF-1BB5726004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>
      <a:noFill/>
    </a:ln>
    <a:effectLst/>
  </c:spPr>
  <c:txPr>
    <a:bodyPr/>
    <a:lstStyle/>
    <a:p>
      <a:pPr>
        <a:defRPr b="1"/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sz="1600" b="1" i="1" u="none" strike="noStrik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C4 – Categorie di giudizio </a:t>
            </a:r>
            <a:endParaRPr lang="en-US" sz="1600" b="1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3865436960842398"/>
          <c:y val="3.90988083842827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3318823027724978"/>
          <c:y val="0.1913104907659024"/>
          <c:w val="0.44746978548101374"/>
          <c:h val="0.63494772171045721"/>
        </c:manualLayout>
      </c:layout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alutazione RC 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7CC-4314-92E9-975DB66DCCD1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BB-4C02-AD67-068CD5B08BF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7CC-4314-92E9-975DB66DCCD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4</c:f>
              <c:strCache>
                <c:ptCount val="3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</c:strCache>
            </c:strRef>
          </c:cat>
          <c:val>
            <c:numRef>
              <c:f>Foglio1!$B$2:$B$4</c:f>
              <c:numCache>
                <c:formatCode>General</c:formatCode>
                <c:ptCount val="3"/>
                <c:pt idx="0">
                  <c:v>1</c:v>
                </c:pt>
                <c:pt idx="1">
                  <c:v>26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BB-4C02-AD67-068CD5B08BF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e </c:v>
                </c:pt>
              </c:strCache>
            </c:strRef>
          </c:tx>
          <c:spPr>
            <a:solidFill>
              <a:srgbClr val="C9982F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FDFBB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049-4D27-AF53-7D507075F449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>
                  <a:lumMod val="95000"/>
                </a:schemeClr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049-4D27-AF53-7D507075F449}"/>
              </c:ext>
            </c:extLst>
          </c:dPt>
          <c:dPt>
            <c:idx val="2"/>
            <c:invertIfNegative val="0"/>
            <c:bubble3D val="0"/>
            <c:spPr>
              <a:solidFill>
                <a:srgbClr val="DDBA6D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049-4D27-AF53-7D507075F449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>
                  <a:lumMod val="65000"/>
                </a:schemeClr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049-4D27-AF53-7D507075F449}"/>
              </c:ext>
            </c:extLst>
          </c:dPt>
          <c:dPt>
            <c:idx val="4"/>
            <c:invertIfNegative val="0"/>
            <c:bubble3D val="0"/>
            <c:spPr>
              <a:solidFill>
                <a:schemeClr val="bg2">
                  <a:lumMod val="8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8-A049-4D27-AF53-7D507075F44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A049-4D27-AF53-7D507075F449}"/>
              </c:ext>
            </c:extLst>
          </c:dPt>
          <c:dPt>
            <c:idx val="6"/>
            <c:invertIfNegative val="0"/>
            <c:bubble3D val="0"/>
            <c:spPr>
              <a:solidFill>
                <a:schemeClr val="tx1">
                  <a:lumMod val="20000"/>
                  <a:lumOff val="8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A-A049-4D27-AF53-7D507075F44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A049-4D27-AF53-7D507075F449}"/>
              </c:ext>
            </c:extLst>
          </c:dPt>
          <c:dPt>
            <c:idx val="8"/>
            <c:invertIfNegative val="0"/>
            <c:bubble3D val="0"/>
            <c:spPr>
              <a:solidFill>
                <a:srgbClr val="C9982F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049-4D27-AF53-7D507075F449}"/>
              </c:ext>
            </c:extLst>
          </c:dPt>
          <c:dLbls>
            <c:dLbl>
              <c:idx val="0"/>
              <c:layout>
                <c:manualLayout>
                  <c:x val="3.4698525560651972E-3"/>
                  <c:y val="4.1592600822129627E-3"/>
                </c:manualLayout>
              </c:layout>
              <c:spPr/>
              <c:txPr>
                <a:bodyPr lIns="38100" tIns="19050" rIns="38100" bIns="19050">
                  <a:spAutoFit/>
                </a:bodyPr>
                <a:lstStyle/>
                <a:p>
                  <a:pPr>
                    <a:defRPr sz="11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3.1019599775849081E-2"/>
                      <c:h val="5.520033030517976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049-4D27-AF53-7D507075F449}"/>
                </c:ext>
              </c:extLst>
            </c:dLbl>
            <c:dLbl>
              <c:idx val="1"/>
              <c:layout>
                <c:manualLayout>
                  <c:x val="3.6596971520868153E-3"/>
                  <c:y val="-0.105880329536034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049-4D27-AF53-7D507075F449}"/>
                </c:ext>
              </c:extLst>
            </c:dLbl>
            <c:dLbl>
              <c:idx val="2"/>
              <c:layout>
                <c:manualLayout>
                  <c:x val="5.3998884128869688E-3"/>
                  <c:y val="0.1153480275695862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049-4D27-AF53-7D507075F4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Carenze nella pianificazione e nello svolgimento delle Verifiche di Gestione</c:v>
                </c:pt>
                <c:pt idx="1">
                  <c:v>Carenza monitoraggio del follow-up</c:v>
                </c:pt>
                <c:pt idx="2">
                  <c:v>Rafforzamento delle misure per la verifica del COI</c:v>
                </c:pt>
                <c:pt idx="3">
                  <c:v>Carenza procedure e/o strumenti</c:v>
                </c:pt>
                <c:pt idx="4">
                  <c:v>Aggiornamento della metodologia di analisi del rischio e/o campionamento</c:v>
                </c:pt>
                <c:pt idx="5">
                  <c:v>Carenze nel sistema informativo</c:v>
                </c:pt>
                <c:pt idx="6">
                  <c:v>Carenza personale formazione interno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6</c:v>
                </c:pt>
                <c:pt idx="1">
                  <c:v>2</c:v>
                </c:pt>
                <c:pt idx="2">
                  <c:v>2</c:v>
                </c:pt>
                <c:pt idx="3">
                  <c:v>8</c:v>
                </c:pt>
                <c:pt idx="4">
                  <c:v>11</c:v>
                </c:pt>
                <c:pt idx="5">
                  <c:v>6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049-4D27-AF53-7D507075F4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89329440"/>
        <c:axId val="1289338560"/>
      </c:barChart>
      <c:catAx>
        <c:axId val="12893294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 algn="just"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289338560"/>
        <c:crosses val="autoZero"/>
        <c:auto val="1"/>
        <c:lblAlgn val="ctr"/>
        <c:lblOffset val="100"/>
        <c:noMultiLvlLbl val="0"/>
      </c:catAx>
      <c:valAx>
        <c:axId val="1289338560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it-IT"/>
          </a:p>
        </c:txPr>
        <c:crossAx val="1289329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sz="1600" b="1" i="1" u="none" strike="noStrik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V 4.2 – Categorie di giudizio</a:t>
            </a:r>
            <a:endParaRPr lang="en-US" sz="1600" b="1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3865436960842398"/>
          <c:y val="5.864821257642419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3318823027724978"/>
          <c:y val="0.1913104907659024"/>
          <c:w val="0.44746978548101374"/>
          <c:h val="0.63494772171045721"/>
        </c:manualLayout>
      </c:layout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alutazione RC 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07F-4540-B5DD-3119D0F1B5D8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BB-4C02-AD67-068CD5B08BF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07F-4540-B5DD-3119D0F1B5D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4</c:f>
              <c:strCache>
                <c:ptCount val="3"/>
                <c:pt idx="0">
                  <c:v>Audit non svolto su CV 4.2</c:v>
                </c:pt>
                <c:pt idx="1">
                  <c:v>Categoria 2</c:v>
                </c:pt>
                <c:pt idx="2">
                  <c:v>Categoria 3</c:v>
                </c:pt>
              </c:strCache>
            </c:strRef>
          </c:cat>
          <c:val>
            <c:numRef>
              <c:f>Foglio1!$B$2:$B$4</c:f>
              <c:numCache>
                <c:formatCode>General</c:formatCode>
                <c:ptCount val="3"/>
                <c:pt idx="0">
                  <c:v>18</c:v>
                </c:pt>
                <c:pt idx="1">
                  <c:v>8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BB-4C02-AD67-068CD5B08BF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227066151249923"/>
          <c:y val="0.79730808296028266"/>
          <c:w val="0.56553283219304695"/>
          <c:h val="0.183142512847575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3766</cdr:x>
      <cdr:y>0.25434</cdr:y>
    </cdr:from>
    <cdr:to>
      <cdr:x>0.66234</cdr:x>
      <cdr:y>0.57706</cdr:y>
    </cdr:to>
    <cdr:sp macro="" textlink="">
      <cdr:nvSpPr>
        <cdr:cNvPr id="2" name="CasellaDiTesto 51">
          <a:extLst xmlns:a="http://schemas.openxmlformats.org/drawingml/2006/main">
            <a:ext uri="{FF2B5EF4-FFF2-40B4-BE49-F238E27FC236}">
              <a16:creationId xmlns:a16="http://schemas.microsoft.com/office/drawing/2014/main" id="{64422462-229F-A403-BB6A-1E9571F05D51}"/>
            </a:ext>
          </a:extLst>
        </cdr:cNvPr>
        <cdr:cNvSpPr txBox="1"/>
      </cdr:nvSpPr>
      <cdr:spPr>
        <a:xfrm xmlns:a="http://schemas.openxmlformats.org/drawingml/2006/main">
          <a:off x="1135262" y="634520"/>
          <a:ext cx="1091630" cy="805106"/>
        </a:xfrm>
        <a:prstGeom xmlns:a="http://schemas.openxmlformats.org/drawingml/2006/main" prst="rect">
          <a:avLst/>
        </a:prstGeom>
        <a:noFill xmlns:a="http://schemas.openxmlformats.org/drawingml/2006/main"/>
        <a:effectLst xmlns:a="http://schemas.openxmlformats.org/drawingml/2006/main"/>
      </cdr:spPr>
      <cdr:txBody>
        <a:bodyPr xmlns:a="http://schemas.openxmlformats.org/drawingml/2006/main" wrap="square" lIns="54610" tIns="54610" rIns="54610" bIns="54610" rtlCol="0" anchor="ctr">
          <a:noAutofit/>
        </a:bodyPr>
        <a:lstStyle xmlns:a="http://schemas.openxmlformats.org/drawingml/2006/main">
          <a:defPPr>
            <a:defRPr lang="it-IT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600"/>
            </a:spcAft>
            <a:defRPr/>
          </a:pPr>
          <a:r>
            <a:rPr lang="it-IT" sz="3200" b="1" dirty="0">
              <a:effectLst/>
              <a:latin typeface="Univers 55" panose="02000000000000000000" pitchFamily="2" charset="0"/>
            </a:rPr>
            <a:t>1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49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49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E1608D-BEE2-41EC-9149-BEF736BB2F19}" type="datetimeFigureOut">
              <a:rPr lang="it-IT" smtClean="0"/>
              <a:t>12/05/2026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6125"/>
            <a:ext cx="6616700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6663"/>
            <a:ext cx="5438140" cy="446841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2" y="9431599"/>
            <a:ext cx="2945659" cy="496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5" y="9431599"/>
            <a:ext cx="2945659" cy="496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F9D81F-184C-4F9E-BE6F-A78D7C632205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459524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C6890E-E466-891F-093E-655D3118A6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DE9521C2-E85A-18B5-3D6F-552B9069B5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E1EC5697-6103-9A10-15DE-2D75F0522B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EEBD6F1-2CFE-5A1B-BD99-B6E62953A9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9809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53F73F-D81C-3DD9-3F73-DFD836830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72C72D99-5D12-7A34-ABF6-25D32359CB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9363B38C-1C2B-B9AD-D6F6-DBBC9AC5C7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16AAF2B-B9D3-BE18-4975-E487907DF9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88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3C54D1-8567-669C-0FE6-81AA4C5116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FB8B769-7F1B-2366-3A7F-CFAE5540FE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99D2E0FA-0155-CB3C-2649-4162A7F8F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67DFB902-CDCB-96E3-797B-1F73CE791D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89601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652E87-2324-466B-D6AA-8C28D2A950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D894203B-4D6C-90E3-982F-623B68D499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D1442D74-A435-590D-FB94-445B81C216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F94C4D7E-EF16-4060-B1A3-1BAC806B57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25887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6B06F9-969F-9FEF-6389-0AF36A157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E5C4DD27-9A46-F571-8B06-1DEAFA287D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3B235BA8-09F4-E199-A9EC-C10E11F6FA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969F4CE-F60C-D2E2-E77D-19F89DF555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5207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C88195-195B-258F-6EBB-D61715CE64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F63C9FF1-9D7E-5FBF-252F-98E51EBE7D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0A483D9C-58D0-C45B-A99A-932A10A035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E979931-0D8B-6ED4-2D0D-9E8510E5CB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17091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F9D81F-184C-4F9E-BE6F-A78D7C632205}" type="slidenum">
              <a:rPr lang="it-IT" smtClean="0"/>
              <a:t>1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565592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7F0057-AEA9-096D-B7B3-823852EC05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9BC704FF-3643-9BE7-1CC3-AB6A443502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A864D1C8-5EA8-9D1F-703C-D46E4B7BE4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58DD19F-FABB-1483-76AA-1D6D2ABADE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3082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F9D81F-184C-4F9E-BE6F-A78D7C632205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73359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F9D81F-184C-4F9E-BE6F-A78D7C632205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073550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F9D81F-184C-4F9E-BE6F-A78D7C632205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283657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D54E39-8745-E581-7791-3BAD4A94DC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85371FA8-C5EE-A882-846A-345BF430B0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83DE6B59-CFB2-C4B2-B56F-89C899E5C0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>
                <a:solidFill>
                  <a:srgbClr val="00338D"/>
                </a:solidFill>
              </a:rPr>
              <a:t>Non </a:t>
            </a:r>
            <a:r>
              <a:rPr lang="en-GB" sz="1200" err="1">
                <a:solidFill>
                  <a:srgbClr val="00338D"/>
                </a:solidFill>
              </a:rPr>
              <a:t>hanno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adottato</a:t>
            </a:r>
            <a:r>
              <a:rPr lang="en-GB" sz="1200">
                <a:solidFill>
                  <a:srgbClr val="00338D"/>
                </a:solidFill>
              </a:rPr>
              <a:t> le </a:t>
            </a:r>
            <a:r>
              <a:rPr lang="en-GB" sz="1200" err="1">
                <a:solidFill>
                  <a:srgbClr val="00338D"/>
                </a:solidFill>
              </a:rPr>
              <a:t>valutazioni</a:t>
            </a:r>
            <a:r>
              <a:rPr lang="en-GB" sz="1200">
                <a:solidFill>
                  <a:srgbClr val="00338D"/>
                </a:solidFill>
              </a:rPr>
              <a:t> del </a:t>
            </a:r>
            <a:r>
              <a:rPr lang="en-GB" sz="1200" err="1">
                <a:solidFill>
                  <a:srgbClr val="00338D"/>
                </a:solidFill>
              </a:rPr>
              <a:t>rischio</a:t>
            </a:r>
            <a:r>
              <a:rPr lang="en-GB" sz="1200">
                <a:solidFill>
                  <a:srgbClr val="00338D"/>
                </a:solidFill>
              </a:rPr>
              <a:t> I </a:t>
            </a:r>
            <a:r>
              <a:rPr lang="en-GB" sz="1200" err="1">
                <a:solidFill>
                  <a:srgbClr val="00338D"/>
                </a:solidFill>
              </a:rPr>
              <a:t>seguenti</a:t>
            </a:r>
            <a:r>
              <a:rPr lang="en-GB" sz="1200">
                <a:solidFill>
                  <a:srgbClr val="00338D"/>
                </a:solidFill>
              </a:rPr>
              <a:t> Programmi: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0338D"/>
                </a:solidFill>
              </a:rPr>
              <a:t>PR Abruzzo FESR, PR Abruzzo FSE+ non </a:t>
            </a:r>
            <a:r>
              <a:rPr lang="en-GB" sz="1200" err="1">
                <a:solidFill>
                  <a:srgbClr val="00338D"/>
                </a:solidFill>
              </a:rPr>
              <a:t>hanno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una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valutazioni</a:t>
            </a:r>
            <a:r>
              <a:rPr lang="en-GB" sz="1200">
                <a:solidFill>
                  <a:srgbClr val="00338D"/>
                </a:solidFill>
              </a:rPr>
              <a:t> di </a:t>
            </a:r>
            <a:r>
              <a:rPr lang="en-GB" sz="1200" err="1">
                <a:solidFill>
                  <a:srgbClr val="00338D"/>
                </a:solidFill>
              </a:rPr>
              <a:t>rischio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poichè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hanno</a:t>
            </a:r>
            <a:r>
              <a:rPr lang="en-GB" sz="1200">
                <a:solidFill>
                  <a:srgbClr val="00338D"/>
                </a:solidFill>
              </a:rPr>
              <a:t> un </a:t>
            </a:r>
            <a:r>
              <a:rPr lang="en-GB" sz="1200" err="1">
                <a:solidFill>
                  <a:srgbClr val="00338D"/>
                </a:solidFill>
              </a:rPr>
              <a:t>numero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esiguo</a:t>
            </a:r>
            <a:r>
              <a:rPr lang="en-GB" sz="1200">
                <a:solidFill>
                  <a:srgbClr val="00338D"/>
                </a:solidFill>
              </a:rPr>
              <a:t> di </a:t>
            </a:r>
            <a:r>
              <a:rPr lang="en-GB" sz="1200" err="1">
                <a:solidFill>
                  <a:srgbClr val="00338D"/>
                </a:solidFill>
              </a:rPr>
              <a:t>operazioni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nel</a:t>
            </a:r>
            <a:r>
              <a:rPr lang="en-GB" sz="1200">
                <a:solidFill>
                  <a:srgbClr val="00338D"/>
                </a:solidFill>
              </a:rPr>
              <a:t> quarto e quinto </a:t>
            </a:r>
            <a:r>
              <a:rPr lang="en-GB" sz="1200" err="1">
                <a:solidFill>
                  <a:srgbClr val="00338D"/>
                </a:solidFill>
              </a:rPr>
              <a:t>periodo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contabile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quindi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si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richiede</a:t>
            </a:r>
            <a:r>
              <a:rPr lang="en-GB" sz="1200">
                <a:solidFill>
                  <a:srgbClr val="00338D"/>
                </a:solidFill>
              </a:rPr>
              <a:t> di </a:t>
            </a:r>
            <a:r>
              <a:rPr lang="en-GB" sz="1200" err="1">
                <a:solidFill>
                  <a:srgbClr val="00338D"/>
                </a:solidFill>
              </a:rPr>
              <a:t>prendere</a:t>
            </a:r>
            <a:r>
              <a:rPr lang="en-GB" sz="1200">
                <a:solidFill>
                  <a:srgbClr val="00338D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0338D"/>
                </a:solidFill>
              </a:rPr>
              <a:t>Umbria FESR </a:t>
            </a:r>
            <a:r>
              <a:rPr lang="en-GB" sz="1200" err="1">
                <a:solidFill>
                  <a:srgbClr val="00338D"/>
                </a:solidFill>
              </a:rPr>
              <a:t>deve</a:t>
            </a:r>
            <a:r>
              <a:rPr lang="en-GB" sz="1200">
                <a:solidFill>
                  <a:srgbClr val="00338D"/>
                </a:solidFill>
              </a:rPr>
              <a:t> essere </a:t>
            </a:r>
            <a:r>
              <a:rPr lang="en-GB" sz="1200" err="1">
                <a:solidFill>
                  <a:srgbClr val="00338D"/>
                </a:solidFill>
              </a:rPr>
              <a:t>ancora</a:t>
            </a:r>
            <a:r>
              <a:rPr lang="en-GB" sz="1200">
                <a:solidFill>
                  <a:srgbClr val="00338D"/>
                </a:solidFill>
              </a:rPr>
              <a:t> </a:t>
            </a:r>
            <a:r>
              <a:rPr lang="en-GB" sz="1200" err="1">
                <a:solidFill>
                  <a:srgbClr val="00338D"/>
                </a:solidFill>
              </a:rPr>
              <a:t>approvata</a:t>
            </a:r>
            <a:r>
              <a:rPr lang="en-GB" sz="1200">
                <a:solidFill>
                  <a:srgbClr val="00338D"/>
                </a:solidFill>
              </a:rPr>
              <a:t>. </a:t>
            </a:r>
          </a:p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A30CEA11-D55F-8C64-5EB2-FEB79AEBCF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13549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5735A8-515D-C7DF-7E6B-41DCE74783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F329D102-BDDF-AE0E-672B-D1A9E12A65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CFB693FB-6D53-9B67-86A5-054CE76285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64BCED7-F2EF-3A51-507F-458A4CA1C2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50656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B567F-DCDC-B8A2-81EF-E69189EB6D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4BD7F059-136D-A3AB-1384-98BAD9FE76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5824A571-E770-45D8-37D4-211AEDB744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EEB70D52-5AB8-5069-038E-9826235330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389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EC3C40-2EC4-94EF-364B-A76A2323C3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6D1D3FEC-08CD-4163-B964-E2D864AFB9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E4B8463-24AE-4FFE-E861-185B2F1CF7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714AAC82-AC5C-E517-DE2A-CBC75D7F89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10856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7429E-0267-D596-8CAB-D06E6FD8A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8A851B5-C266-4AE7-0DEE-BE5637AAA4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CB74E709-E26C-615A-7058-519ECCD454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00DAE6C-7CDA-2043-4917-7AF8365293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9D81F-184C-4F9E-BE6F-A78D7C63220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38265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ttore 1 4"/>
          <p:cNvCxnSpPr/>
          <p:nvPr userDrawn="1"/>
        </p:nvCxnSpPr>
        <p:spPr bwMode="auto">
          <a:xfrm>
            <a:off x="480485" y="6119813"/>
            <a:ext cx="1123103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Connettore 1 5"/>
          <p:cNvCxnSpPr/>
          <p:nvPr userDrawn="1"/>
        </p:nvCxnSpPr>
        <p:spPr bwMode="auto">
          <a:xfrm flipV="1">
            <a:off x="3312584" y="2879726"/>
            <a:ext cx="0" cy="900113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" name="Immagine 13"/>
          <p:cNvPicPr>
            <a:picLocks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88000" y="6201023"/>
            <a:ext cx="2016000" cy="541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Immagine 14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661" y="2879726"/>
            <a:ext cx="2381252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551240" y="2880000"/>
            <a:ext cx="8160277" cy="540000"/>
          </a:xfrm>
          <a:prstGeom prst="rect">
            <a:avLst/>
          </a:prstGeom>
        </p:spPr>
        <p:txBody>
          <a:bodyPr/>
          <a:lstStyle>
            <a:lvl1pPr algn="l">
              <a:defRPr sz="2800" baseline="0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51240" y="3501010"/>
            <a:ext cx="8160277" cy="360039"/>
          </a:xfrm>
          <a:prstGeom prst="rect">
            <a:avLst/>
          </a:prstGeom>
        </p:spPr>
        <p:txBody>
          <a:bodyPr/>
          <a:lstStyle>
            <a:lvl1pPr marL="0" indent="0" algn="l">
              <a:defRPr sz="1500">
                <a:solidFill>
                  <a:schemeClr val="bg1">
                    <a:lumMod val="50000"/>
                  </a:schemeClr>
                </a:solidFill>
                <a:latin typeface="Frutiger LT 45 Light" pitchFamily="34" charset="0"/>
              </a:defRPr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5642570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5949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/>
              <a:t>Fare clic sull'icona per inserire un'immagin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070851" y="6456364"/>
            <a:ext cx="3786716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Cagliari, 8 ottobre 2014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8070851" y="6227763"/>
            <a:ext cx="3786716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Incontro annuale Autorità di Audit. Perugia, 27  maggio 2015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>
            <a:lvl1pPr algn="r">
              <a:defRPr/>
            </a:lvl1pPr>
          </a:lstStyle>
          <a:p>
            <a:fld id="{A343842B-A32A-49BD-A497-95FC235F58CB}" type="slidenum">
              <a:rPr lang="it-IT">
                <a:solidFill>
                  <a:srgbClr val="002776"/>
                </a:solidFill>
              </a:rPr>
              <a:pPr/>
              <a:t>‹#›</a:t>
            </a:fld>
            <a:endParaRPr lang="it-IT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900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34643"/>
            <a:ext cx="10515600" cy="670626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0290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80000" y="360000"/>
            <a:ext cx="11179731" cy="119134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80000" y="1800000"/>
            <a:ext cx="11179731" cy="414429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070851" y="6456364"/>
            <a:ext cx="3786716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Cagliari, 8 ottobre 2014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8070851" y="6227763"/>
            <a:ext cx="3786716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Incontro annuale Autorità di Audit. Perugia, 27  maggio 2015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>
            <a:lvl1pPr algn="r">
              <a:defRPr/>
            </a:lvl1pPr>
          </a:lstStyle>
          <a:p>
            <a:fld id="{FF47CDCC-CACC-41C5-841E-7F65E3FFA4DE}" type="slidenum">
              <a:rPr lang="it-IT">
                <a:solidFill>
                  <a:srgbClr val="002776"/>
                </a:solidFill>
              </a:rPr>
              <a:pPr/>
              <a:t>‹#›</a:t>
            </a:fld>
            <a:endParaRPr lang="it-IT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86221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192011" y="1800000"/>
            <a:ext cx="5520000" cy="4143600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9" name="Segnaposto testo 2"/>
          <p:cNvSpPr>
            <a:spLocks noGrp="1"/>
          </p:cNvSpPr>
          <p:nvPr>
            <p:ph type="body" idx="13"/>
          </p:nvPr>
        </p:nvSpPr>
        <p:spPr>
          <a:xfrm>
            <a:off x="480000" y="1800000"/>
            <a:ext cx="5520000" cy="414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480000" y="360000"/>
            <a:ext cx="11179731" cy="119134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8070851" y="6456364"/>
            <a:ext cx="3786716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Cagliari, 8 ottobre 2014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8070851" y="6227763"/>
            <a:ext cx="3786716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Incontro annuale Autorità di Audit. Perugia, 27  maggio 2015 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8070851" y="6608764"/>
            <a:ext cx="3786716" cy="179387"/>
          </a:xfrm>
        </p:spPr>
        <p:txBody>
          <a:bodyPr/>
          <a:lstStyle>
            <a:lvl1pPr algn="r">
              <a:defRPr/>
            </a:lvl1pPr>
          </a:lstStyle>
          <a:p>
            <a:fld id="{6E0382FE-9034-4F3D-8BE8-7C2C08780508}" type="slidenum">
              <a:rPr lang="it-IT">
                <a:solidFill>
                  <a:srgbClr val="002776"/>
                </a:solidFill>
              </a:rPr>
              <a:pPr/>
              <a:t>‹#›</a:t>
            </a:fld>
            <a:endParaRPr lang="it-IT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444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192011" y="1124744"/>
            <a:ext cx="5520000" cy="9165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Segnaposto contenuto 3"/>
          <p:cNvSpPr>
            <a:spLocks noGrp="1"/>
          </p:cNvSpPr>
          <p:nvPr>
            <p:ph sz="half" idx="13"/>
          </p:nvPr>
        </p:nvSpPr>
        <p:spPr>
          <a:xfrm>
            <a:off x="6192011" y="2174876"/>
            <a:ext cx="5520000" cy="3774405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1" name="Segnaposto testo 2"/>
          <p:cNvSpPr>
            <a:spLocks noGrp="1"/>
          </p:cNvSpPr>
          <p:nvPr>
            <p:ph type="body" idx="17"/>
          </p:nvPr>
        </p:nvSpPr>
        <p:spPr>
          <a:xfrm>
            <a:off x="480000" y="1124744"/>
            <a:ext cx="5520000" cy="9165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Segnaposto contenuto 3"/>
          <p:cNvSpPr>
            <a:spLocks noGrp="1"/>
          </p:cNvSpPr>
          <p:nvPr>
            <p:ph sz="half" idx="18"/>
          </p:nvPr>
        </p:nvSpPr>
        <p:spPr>
          <a:xfrm>
            <a:off x="480000" y="2174876"/>
            <a:ext cx="5520000" cy="377440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3" name="Titolo 1"/>
          <p:cNvSpPr>
            <a:spLocks noGrp="1"/>
          </p:cNvSpPr>
          <p:nvPr>
            <p:ph type="title"/>
          </p:nvPr>
        </p:nvSpPr>
        <p:spPr>
          <a:xfrm>
            <a:off x="480000" y="360001"/>
            <a:ext cx="11179731" cy="654637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9"/>
          </p:nvPr>
        </p:nvSpPr>
        <p:spPr>
          <a:xfrm>
            <a:off x="8070851" y="6456364"/>
            <a:ext cx="3786716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Cagliari, 8 ottobre 2014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20"/>
          </p:nvPr>
        </p:nvSpPr>
        <p:spPr>
          <a:xfrm>
            <a:off x="8070851" y="6227763"/>
            <a:ext cx="3786716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Incontro annuale Autorità di Audit. Perugia, 27  maggio 2015 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21"/>
          </p:nvPr>
        </p:nvSpPr>
        <p:spPr>
          <a:xfrm>
            <a:off x="8070851" y="6608764"/>
            <a:ext cx="3786716" cy="179387"/>
          </a:xfrm>
        </p:spPr>
        <p:txBody>
          <a:bodyPr/>
          <a:lstStyle>
            <a:lvl1pPr algn="r">
              <a:defRPr/>
            </a:lvl1pPr>
          </a:lstStyle>
          <a:p>
            <a:fld id="{EDB29909-C880-4967-881C-A23BF4BF48D5}" type="slidenum">
              <a:rPr lang="it-IT">
                <a:solidFill>
                  <a:srgbClr val="002776"/>
                </a:solidFill>
              </a:rPr>
              <a:pPr/>
              <a:t>‹#›</a:t>
            </a:fld>
            <a:endParaRPr lang="it-IT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550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070851" y="6456364"/>
            <a:ext cx="3786716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Cagliari, 8 ottobre 2014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8070851" y="6227763"/>
            <a:ext cx="3786716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Incontro annuale Autorità di Audit. Perugia, 27  maggio 2015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>
            <a:lvl1pPr algn="r">
              <a:defRPr/>
            </a:lvl1pPr>
          </a:lstStyle>
          <a:p>
            <a:fld id="{A343842B-A32A-49BD-A497-95FC235F58CB}" type="slidenum">
              <a:rPr lang="it-IT">
                <a:solidFill>
                  <a:srgbClr val="002776"/>
                </a:solidFill>
              </a:rPr>
              <a:pPr/>
              <a:t>‹#›</a:t>
            </a:fld>
            <a:endParaRPr lang="it-IT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378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480000" y="1196752"/>
            <a:ext cx="11227112" cy="47525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/>
              <a:t>Fare clic sull'icona per inserire un'immagine</a:t>
            </a:r>
          </a:p>
        </p:txBody>
      </p:sp>
      <p:sp>
        <p:nvSpPr>
          <p:cNvPr id="7" name="Titolo 1"/>
          <p:cNvSpPr>
            <a:spLocks noGrp="1"/>
          </p:cNvSpPr>
          <p:nvPr>
            <p:ph type="title"/>
          </p:nvPr>
        </p:nvSpPr>
        <p:spPr>
          <a:xfrm>
            <a:off x="480000" y="360001"/>
            <a:ext cx="11227112" cy="654637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070851" y="6456364"/>
            <a:ext cx="3786716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Cagliari, 8 ottobre 2014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8070851" y="6227763"/>
            <a:ext cx="3786716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Incontro annuale Autorità di Audit. Perugia, 27  maggio 2015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>
            <a:lvl1pPr algn="r">
              <a:defRPr/>
            </a:lvl1pPr>
          </a:lstStyle>
          <a:p>
            <a:fld id="{7974E446-63F0-4376-9007-96BC31C17D9D}" type="slidenum">
              <a:rPr lang="it-IT">
                <a:solidFill>
                  <a:srgbClr val="002776"/>
                </a:solidFill>
              </a:rPr>
              <a:pPr/>
              <a:t>‹#›</a:t>
            </a:fld>
            <a:endParaRPr lang="it-IT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920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34643"/>
            <a:ext cx="10515600" cy="670626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64114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256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 three title style</a:t>
            </a:r>
            <a:endParaRPr lang="en-US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2116975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6" name="Freeform 19"/>
          <p:cNvSpPr>
            <a:spLocks noEditPoints="1"/>
          </p:cNvSpPr>
          <p:nvPr userDrawn="1"/>
        </p:nvSpPr>
        <p:spPr bwMode="auto">
          <a:xfrm>
            <a:off x="2752133" y="784800"/>
            <a:ext cx="10368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353752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5949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/>
              <a:t>Fare clic sull'icona per inserire un'immagin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070851" y="6456364"/>
            <a:ext cx="3786716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Cagliari, 8 ottobre 2014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8070851" y="6227763"/>
            <a:ext cx="3786716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Incontro annuale Autorità di Audit. Perugia, 27  maggio 2015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>
            <a:lvl1pPr algn="r">
              <a:defRPr/>
            </a:lvl1pPr>
          </a:lstStyle>
          <a:p>
            <a:fld id="{A343842B-A32A-49BD-A497-95FC235F58CB}" type="slidenum">
              <a:rPr lang="it-IT">
                <a:solidFill>
                  <a:srgbClr val="002776"/>
                </a:solidFill>
              </a:rPr>
              <a:pPr/>
              <a:t>‹#›</a:t>
            </a:fld>
            <a:endParaRPr lang="it-IT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086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ttore 1 9"/>
          <p:cNvCxnSpPr/>
          <p:nvPr/>
        </p:nvCxnSpPr>
        <p:spPr bwMode="auto">
          <a:xfrm>
            <a:off x="480485" y="6119813"/>
            <a:ext cx="1123103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920567" y="6456364"/>
            <a:ext cx="3786717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>
                <a:solidFill>
                  <a:srgbClr val="0B3066"/>
                </a:solidFill>
                <a:latin typeface="+mj-lt"/>
                <a:ea typeface="ＭＳ Ｐゴシック" charset="-128"/>
              </a:defRPr>
            </a:lvl1pPr>
          </a:lstStyle>
          <a:p>
            <a:pPr eaLnBrk="0" fontAlgn="base" hangingPunct="0">
              <a:spcAft>
                <a:spcPct val="0"/>
              </a:spcAft>
              <a:defRPr/>
            </a:pPr>
            <a:r>
              <a:rPr lang="it-IT"/>
              <a:t>Cagliari, 8 ottobre 2014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20567" y="6227763"/>
            <a:ext cx="3786717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>
                <a:solidFill>
                  <a:srgbClr val="0B3066"/>
                </a:solidFill>
                <a:latin typeface="+mj-lt"/>
                <a:ea typeface="ＭＳ Ｐゴシック" charset="-128"/>
              </a:defRPr>
            </a:lvl1pPr>
          </a:lstStyle>
          <a:p>
            <a:pPr eaLnBrk="0" fontAlgn="base" hangingPunct="0">
              <a:spcAft>
                <a:spcPct val="0"/>
              </a:spcAft>
              <a:defRPr/>
            </a:pPr>
            <a:r>
              <a:rPr lang="it-IT"/>
              <a:t>Incontro annuale Autorità di Audit. Perugia, 27  maggio 2015 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920567" y="6608764"/>
            <a:ext cx="3786717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latin typeface="Tahoma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0A9F0259-7ABC-40AD-89AB-9E995DA4C1C8}" type="slidenum">
              <a:rPr lang="it-IT">
                <a:solidFill>
                  <a:srgbClr val="002776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it-IT">
              <a:solidFill>
                <a:srgbClr val="002776"/>
              </a:solidFill>
            </a:endParaRPr>
          </a:p>
        </p:txBody>
      </p:sp>
      <p:pic>
        <p:nvPicPr>
          <p:cNvPr id="1031" name="Immagine 5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80485" y="6300788"/>
            <a:ext cx="360000" cy="3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Immagine 10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03709" y="6300789"/>
            <a:ext cx="1080000" cy="384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47543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0" r:id="rId8"/>
    <p:sldLayoutId id="2147483671" r:id="rId9"/>
    <p:sldLayoutId id="2147483672" r:id="rId10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>
          <a:solidFill>
            <a:srgbClr val="0B3066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99823B-FAC9-9D8C-6EB0-748E60BAA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819ECE-8182-1931-8428-E16E9461B3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65FB19-392A-6F9B-C13A-DB96E7F084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CEF699-EADE-428A-8C4A-E65730BA3BDD}" type="datetimeFigureOut">
              <a:rPr lang="en-US" smtClean="0"/>
              <a:t>5/1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C1F13A-A192-24F8-F0DE-661AC40113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8A14D0-DA39-D517-A0A3-9ECE7F8B79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DC99D2-B99A-4FDF-853B-65F7D6C09532}" type="slidenum">
              <a:rPr lang="en-US" smtClean="0"/>
              <a:t>‹#›</a:t>
            </a:fld>
            <a:endParaRPr lang="en-US"/>
          </a:p>
        </p:txBody>
      </p:sp>
    </p:spTree>
    <p:custDataLst>
      <p:custData r:id="rId3"/>
    </p:custDataLst>
    <p:extLst>
      <p:ext uri="{BB962C8B-B14F-4D97-AF65-F5344CB8AC3E}">
        <p14:creationId xmlns:p14="http://schemas.microsoft.com/office/powerpoint/2010/main" val="337060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510E56A-F2BE-78CE-68A2-CF3C460680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1332" y="2758754"/>
            <a:ext cx="8240183" cy="540000"/>
          </a:xfrm>
        </p:spPr>
        <p:txBody>
          <a:bodyPr/>
          <a:lstStyle/>
          <a:p>
            <a:r>
              <a:rPr lang="en-US" sz="4000" b="1" i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he</a:t>
            </a:r>
            <a:r>
              <a:rPr lang="en-US" sz="40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</a:t>
            </a:r>
            <a:r>
              <a:rPr lang="en-US" sz="4000" b="1" i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e</a:t>
            </a:r>
            <a:r>
              <a:rPr lang="en-US" sz="40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i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ate</a:t>
            </a:r>
            <a:r>
              <a:rPr lang="en-US" sz="40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i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lla</a:t>
            </a:r>
            <a:r>
              <a:rPr lang="en-US" sz="40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i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tazione</a:t>
            </a:r>
            <a:r>
              <a:rPr lang="en-US" sz="40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i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i</a:t>
            </a:r>
            <a:r>
              <a:rPr lang="en-US" sz="40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i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chi</a:t>
            </a:r>
            <a:endParaRPr lang="it-IT" sz="4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A8F1CBB0-71C2-B9D2-1B5F-3C93E249BF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51239" y="4632580"/>
            <a:ext cx="8160277" cy="360039"/>
          </a:xfrm>
        </p:spPr>
        <p:txBody>
          <a:bodyPr/>
          <a:lstStyle/>
          <a:p>
            <a:r>
              <a:rPr lang="it-IT" b="1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</p:spTree>
    <p:extLst>
      <p:ext uri="{BB962C8B-B14F-4D97-AF65-F5344CB8AC3E}">
        <p14:creationId xmlns:p14="http://schemas.microsoft.com/office/powerpoint/2010/main" val="20156084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51854F-15BA-9CC2-0AA9-DA783D2040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DE2DE670-2449-0C00-E6EE-D251CA068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62B4BB-5401-8B68-B85B-B60A0C1EEC0A}"/>
              </a:ext>
            </a:extLst>
          </p:cNvPr>
          <p:cNvSpPr txBox="1">
            <a:spLocks/>
          </p:cNvSpPr>
          <p:nvPr/>
        </p:nvSpPr>
        <p:spPr>
          <a:xfrm>
            <a:off x="462903" y="393797"/>
            <a:ext cx="10195200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kern="0" cap="small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aratteristiche </a:t>
            </a:r>
            <a:r>
              <a:rPr kumimoji="0" lang="it-IT" sz="2800" b="1" i="0" u="none" strike="noStrike" kern="0" cap="small" spc="0" normalizeH="0" baseline="0" noProof="0">
                <a:ln>
                  <a:noFill/>
                </a:ln>
                <a:solidFill>
                  <a:srgbClr val="0B306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etodologie utilizzate (1/7)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Sottotitolo 2">
            <a:extLst>
              <a:ext uri="{FF2B5EF4-FFF2-40B4-BE49-F238E27FC236}">
                <a16:creationId xmlns:a16="http://schemas.microsoft.com/office/drawing/2014/main" id="{262107C8-57B6-3E76-7E73-82487A082701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A1CE4FB4-23C8-C5F9-C4FD-BF7835E64A89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E342C075-2AA4-E3F0-E169-992C5514F842}"/>
              </a:ext>
            </a:extLst>
          </p:cNvPr>
          <p:cNvSpPr txBox="1"/>
          <p:nvPr/>
        </p:nvSpPr>
        <p:spPr>
          <a:xfrm>
            <a:off x="334432" y="1055859"/>
            <a:ext cx="17890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T. 74, par. 2 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. (UE)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1/1060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8E5CD7A9-929E-F7A1-9F0D-723FB6FF0114}"/>
              </a:ext>
            </a:extLst>
          </p:cNvPr>
          <p:cNvSpPr txBox="1"/>
          <p:nvPr/>
        </p:nvSpPr>
        <p:spPr>
          <a:xfrm>
            <a:off x="462902" y="877365"/>
            <a:ext cx="113946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Dalla mappatura effettuata delle metodologie di valutazione dei rischi adottate emerge un quadro molto articolato, caratterizzato da </a:t>
            </a:r>
            <a:r>
              <a:rPr lang="it-IT" sz="1600" b="1">
                <a:latin typeface="Arial" panose="020B0604020202020204" pitchFamily="34" charset="0"/>
                <a:cs typeface="Arial" panose="020B0604020202020204" pitchFamily="34" charset="0"/>
              </a:rPr>
              <a:t>metodologie tra loro eterogenee</a:t>
            </a: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. La principali differenze non riguardano tanto i fattori di rischio utilizzati, quanto il livello di strutturazione del sistema e il collegamento tra rischio e campionamento. È possibile comunque individuare alcuni elementi comuni che consentono di delineare le principali tendenze del sistema nazionale.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816CBEB5-A2BF-79DE-8C49-864536B7EFFE}"/>
              </a:ext>
            </a:extLst>
          </p:cNvPr>
          <p:cNvSpPr txBox="1"/>
          <p:nvPr/>
        </p:nvSpPr>
        <p:spPr>
          <a:xfrm>
            <a:off x="462902" y="2051092"/>
            <a:ext cx="11394664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b="1" i="1">
                <a:solidFill>
                  <a:schemeClr val="tx1">
                    <a:lumMod val="60000"/>
                    <a:lumOff val="4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Le caratteristiche delle metodologie di analisi e valutazione del rischio adottate riguardano i seguenti aspetti principali:</a:t>
            </a:r>
          </a:p>
        </p:txBody>
      </p:sp>
      <p:sp>
        <p:nvSpPr>
          <p:cNvPr id="11" name="Rectangle: Rounded Corners 2">
            <a:extLst>
              <a:ext uri="{FF2B5EF4-FFF2-40B4-BE49-F238E27FC236}">
                <a16:creationId xmlns:a16="http://schemas.microsoft.com/office/drawing/2014/main" id="{CEEA7D0E-B240-3F9B-C32A-05F3E9DB8AD2}"/>
              </a:ext>
            </a:extLst>
          </p:cNvPr>
          <p:cNvSpPr/>
          <p:nvPr/>
        </p:nvSpPr>
        <p:spPr>
          <a:xfrm>
            <a:off x="899326" y="2575097"/>
            <a:ext cx="3183304" cy="3033511"/>
          </a:xfrm>
          <a:prstGeom prst="roundRect">
            <a:avLst>
              <a:gd name="adj" fmla="val 7789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rtlCol="0" anchor="ctr"/>
          <a:lstStyle/>
          <a:p>
            <a:pPr algn="ctr"/>
            <a:r>
              <a:rPr lang="it-IT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alità utilizzate dalle Autorità di Gestione per costruire il livello di rischio finale dell’operazione/DDR.</a:t>
            </a:r>
          </a:p>
        </p:txBody>
      </p:sp>
      <p:sp>
        <p:nvSpPr>
          <p:cNvPr id="13" name="Rectangle: Rounded Corners 6">
            <a:extLst>
              <a:ext uri="{FF2B5EF4-FFF2-40B4-BE49-F238E27FC236}">
                <a16:creationId xmlns:a16="http://schemas.microsoft.com/office/drawing/2014/main" id="{212CBEF8-F734-4991-A257-855887A90E30}"/>
              </a:ext>
            </a:extLst>
          </p:cNvPr>
          <p:cNvSpPr/>
          <p:nvPr/>
        </p:nvSpPr>
        <p:spPr>
          <a:xfrm>
            <a:off x="822574" y="3103417"/>
            <a:ext cx="3326649" cy="3149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etodologia di calcolo del rischio</a:t>
            </a:r>
          </a:p>
        </p:txBody>
      </p:sp>
      <p:sp>
        <p:nvSpPr>
          <p:cNvPr id="36" name="Rectangle: Rounded Corners 4">
            <a:extLst>
              <a:ext uri="{FF2B5EF4-FFF2-40B4-BE49-F238E27FC236}">
                <a16:creationId xmlns:a16="http://schemas.microsoft.com/office/drawing/2014/main" id="{6F2B5C02-1E23-A665-7E91-5274B016C0A9}"/>
              </a:ext>
            </a:extLst>
          </p:cNvPr>
          <p:cNvSpPr/>
          <p:nvPr/>
        </p:nvSpPr>
        <p:spPr>
          <a:xfrm>
            <a:off x="8152550" y="2575097"/>
            <a:ext cx="3183304" cy="3033511"/>
          </a:xfrm>
          <a:prstGeom prst="roundRect">
            <a:avLst>
              <a:gd name="adj" fmla="val 7789"/>
            </a:avLst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rtlCol="0" anchor="ctr"/>
          <a:lstStyle/>
          <a:p>
            <a:pPr algn="ctr"/>
            <a:r>
              <a:rPr lang="it-IT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ttori utilizzati nella costruzione delle metodologie e nella valutazione del rischio.</a:t>
            </a:r>
          </a:p>
        </p:txBody>
      </p:sp>
      <p:sp>
        <p:nvSpPr>
          <p:cNvPr id="37" name="Rectangle: Rounded Corners 8">
            <a:extLst>
              <a:ext uri="{FF2B5EF4-FFF2-40B4-BE49-F238E27FC236}">
                <a16:creationId xmlns:a16="http://schemas.microsoft.com/office/drawing/2014/main" id="{776C5776-D16A-3767-0EF7-0D16A608B4E0}"/>
              </a:ext>
            </a:extLst>
          </p:cNvPr>
          <p:cNvSpPr/>
          <p:nvPr/>
        </p:nvSpPr>
        <p:spPr>
          <a:xfrm>
            <a:off x="8080878" y="3103417"/>
            <a:ext cx="3326649" cy="31496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Fattori di rischio</a:t>
            </a:r>
          </a:p>
        </p:txBody>
      </p:sp>
      <p:sp>
        <p:nvSpPr>
          <p:cNvPr id="53" name="Rectangle: Rounded Corners 3">
            <a:extLst>
              <a:ext uri="{FF2B5EF4-FFF2-40B4-BE49-F238E27FC236}">
                <a16:creationId xmlns:a16="http://schemas.microsoft.com/office/drawing/2014/main" id="{5C332D9A-4696-A417-C6E2-7CB188873517}"/>
              </a:ext>
            </a:extLst>
          </p:cNvPr>
          <p:cNvSpPr/>
          <p:nvPr/>
        </p:nvSpPr>
        <p:spPr>
          <a:xfrm>
            <a:off x="4523398" y="2575097"/>
            <a:ext cx="3183304" cy="3033511"/>
          </a:xfrm>
          <a:prstGeom prst="roundRect">
            <a:avLst>
              <a:gd name="adj" fmla="val 7789"/>
            </a:avLst>
          </a:prstGeom>
          <a:noFill/>
          <a:ln w="19050">
            <a:solidFill>
              <a:srgbClr val="0027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rtlCol="0" anchor="ctr"/>
          <a:lstStyle/>
          <a:p>
            <a:pPr algn="ctr"/>
            <a:r>
              <a:rPr lang="it-IT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alità di selezione del campione e di modulazione dei controlli.</a:t>
            </a:r>
          </a:p>
        </p:txBody>
      </p:sp>
      <p:sp>
        <p:nvSpPr>
          <p:cNvPr id="54" name="Rectangle: Rounded Corners 7">
            <a:extLst>
              <a:ext uri="{FF2B5EF4-FFF2-40B4-BE49-F238E27FC236}">
                <a16:creationId xmlns:a16="http://schemas.microsoft.com/office/drawing/2014/main" id="{49626941-62FD-2285-077B-20E93AC861FC}"/>
              </a:ext>
            </a:extLst>
          </p:cNvPr>
          <p:cNvSpPr/>
          <p:nvPr/>
        </p:nvSpPr>
        <p:spPr>
          <a:xfrm>
            <a:off x="4451726" y="3103417"/>
            <a:ext cx="3326649" cy="314960"/>
          </a:xfrm>
          <a:prstGeom prst="roundRect">
            <a:avLst/>
          </a:prstGeom>
          <a:solidFill>
            <a:srgbClr val="0027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tratificazione e campionamento</a:t>
            </a:r>
          </a:p>
        </p:txBody>
      </p:sp>
      <p:sp>
        <p:nvSpPr>
          <p:cNvPr id="60" name="Oval 15">
            <a:extLst>
              <a:ext uri="{FF2B5EF4-FFF2-40B4-BE49-F238E27FC236}">
                <a16:creationId xmlns:a16="http://schemas.microsoft.com/office/drawing/2014/main" id="{3679FFC6-A971-08AD-C0AE-8CE97E8B8228}"/>
              </a:ext>
            </a:extLst>
          </p:cNvPr>
          <p:cNvSpPr>
            <a:spLocks noChangeAspect="1"/>
          </p:cNvSpPr>
          <p:nvPr/>
        </p:nvSpPr>
        <p:spPr>
          <a:xfrm>
            <a:off x="2240249" y="2645685"/>
            <a:ext cx="446186" cy="360000"/>
          </a:xfrm>
          <a:prstGeom prst="ellipse">
            <a:avLst/>
          </a:prstGeom>
          <a:solidFill>
            <a:srgbClr val="00664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1" name="Oval 12">
            <a:extLst>
              <a:ext uri="{FF2B5EF4-FFF2-40B4-BE49-F238E27FC236}">
                <a16:creationId xmlns:a16="http://schemas.microsoft.com/office/drawing/2014/main" id="{E566D407-B1FB-3870-173C-9106F24331AB}"/>
              </a:ext>
            </a:extLst>
          </p:cNvPr>
          <p:cNvSpPr>
            <a:spLocks noChangeAspect="1"/>
          </p:cNvSpPr>
          <p:nvPr/>
        </p:nvSpPr>
        <p:spPr>
          <a:xfrm>
            <a:off x="5872907" y="2659257"/>
            <a:ext cx="446186" cy="360000"/>
          </a:xfrm>
          <a:prstGeom prst="ellipse">
            <a:avLst/>
          </a:prstGeom>
          <a:solidFill>
            <a:srgbClr val="00277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2" name="Oval 9">
            <a:extLst>
              <a:ext uri="{FF2B5EF4-FFF2-40B4-BE49-F238E27FC236}">
                <a16:creationId xmlns:a16="http://schemas.microsoft.com/office/drawing/2014/main" id="{0DA45112-BEAF-8D7D-1B50-E67D389F26B4}"/>
              </a:ext>
            </a:extLst>
          </p:cNvPr>
          <p:cNvSpPr>
            <a:spLocks noChangeAspect="1"/>
          </p:cNvSpPr>
          <p:nvPr/>
        </p:nvSpPr>
        <p:spPr>
          <a:xfrm>
            <a:off x="9521109" y="2674092"/>
            <a:ext cx="446186" cy="360000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4944902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313116-45E1-D8B0-4FD9-DDF2A95B52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8000E00A-0B71-A7B7-DDF4-D5136C911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C448C9F-DD68-1F5F-3274-C28664B8E3C5}"/>
              </a:ext>
            </a:extLst>
          </p:cNvPr>
          <p:cNvSpPr txBox="1">
            <a:spLocks/>
          </p:cNvSpPr>
          <p:nvPr/>
        </p:nvSpPr>
        <p:spPr>
          <a:xfrm>
            <a:off x="462903" y="393797"/>
            <a:ext cx="10195200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kern="0" cap="small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aratteristiche </a:t>
            </a:r>
            <a:r>
              <a:rPr kumimoji="0" lang="it-IT" sz="2800" b="1" i="0" u="none" strike="noStrike" kern="0" cap="small" spc="0" normalizeH="0" baseline="0" noProof="0">
                <a:ln>
                  <a:noFill/>
                </a:ln>
                <a:solidFill>
                  <a:srgbClr val="0B306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etodologie utilizzate (2/7)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Sottotitolo 2">
            <a:extLst>
              <a:ext uri="{FF2B5EF4-FFF2-40B4-BE49-F238E27FC236}">
                <a16:creationId xmlns:a16="http://schemas.microsoft.com/office/drawing/2014/main" id="{B6806F9A-2736-062A-8B35-CFC68674575A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BBD83AED-5EAC-703C-00D2-8C26FC50940B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52C59BD4-1462-BF8F-FB12-57F544227301}"/>
              </a:ext>
            </a:extLst>
          </p:cNvPr>
          <p:cNvSpPr txBox="1"/>
          <p:nvPr/>
        </p:nvSpPr>
        <p:spPr>
          <a:xfrm>
            <a:off x="334432" y="1055859"/>
            <a:ext cx="17890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T. 74, par. 2 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. (UE)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1/1060</a:t>
            </a:r>
          </a:p>
        </p:txBody>
      </p:sp>
      <p:sp>
        <p:nvSpPr>
          <p:cNvPr id="8" name="Rectangle 29 - 2">
            <a:extLst>
              <a:ext uri="{FF2B5EF4-FFF2-40B4-BE49-F238E27FC236}">
                <a16:creationId xmlns:a16="http://schemas.microsoft.com/office/drawing/2014/main" id="{A0D19B9C-F2DD-3ED8-8C41-D70E9C259D2E}"/>
              </a:ext>
            </a:extLst>
          </p:cNvPr>
          <p:cNvSpPr/>
          <p:nvPr/>
        </p:nvSpPr>
        <p:spPr bwMode="auto">
          <a:xfrm rot="16200000">
            <a:off x="-1574008" y="3323472"/>
            <a:ext cx="4387107" cy="570226"/>
          </a:xfrm>
          <a:prstGeom prst="roundRect">
            <a:avLst>
              <a:gd name="adj" fmla="val 27360"/>
            </a:avLst>
          </a:prstGeom>
          <a:noFill/>
          <a:ln>
            <a:solidFill>
              <a:srgbClr val="006643"/>
            </a:solidFill>
          </a:ln>
          <a:effectLst>
            <a:outerShdw blurRad="63500" sx="101000" sy="101000" algn="ctr" rotWithShape="0">
              <a:schemeClr val="accent4">
                <a:lumMod val="75000"/>
                <a:alpha val="4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fontAlgn="base">
              <a:lnSpc>
                <a:spcPct val="90000"/>
              </a:lnSpc>
              <a:defRPr/>
            </a:pPr>
            <a:r>
              <a:rPr lang="it-IT" b="1" cap="all">
                <a:solidFill>
                  <a:srgbClr val="006643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todologia di calcolo del rischio</a:t>
            </a:r>
          </a:p>
        </p:txBody>
      </p:sp>
      <p:sp>
        <p:nvSpPr>
          <p:cNvPr id="9" name="Oval 15">
            <a:extLst>
              <a:ext uri="{FF2B5EF4-FFF2-40B4-BE49-F238E27FC236}">
                <a16:creationId xmlns:a16="http://schemas.microsoft.com/office/drawing/2014/main" id="{60DA79ED-7DBC-3FCC-D9C1-7BD49C16FD94}"/>
              </a:ext>
            </a:extLst>
          </p:cNvPr>
          <p:cNvSpPr>
            <a:spLocks noChangeAspect="1"/>
          </p:cNvSpPr>
          <p:nvPr/>
        </p:nvSpPr>
        <p:spPr>
          <a:xfrm>
            <a:off x="396452" y="945534"/>
            <a:ext cx="446186" cy="360000"/>
          </a:xfrm>
          <a:prstGeom prst="ellipse">
            <a:avLst/>
          </a:prstGeom>
          <a:solidFill>
            <a:srgbClr val="00664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6A39540F-C6CE-6610-CD31-E820525354DB}"/>
              </a:ext>
            </a:extLst>
          </p:cNvPr>
          <p:cNvSpPr/>
          <p:nvPr/>
        </p:nvSpPr>
        <p:spPr>
          <a:xfrm>
            <a:off x="3364836" y="1415034"/>
            <a:ext cx="8492731" cy="100431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ruzione del rischio non sulla base di un unico elemento, ma tramite l’utilizzo combinato di più dimensioni di risch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tazione composita della rischiosità complessiva dell’operazione o della domanda di rimborso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3FC5258E-7346-8D93-3958-1C0BB10201A8}"/>
              </a:ext>
            </a:extLst>
          </p:cNvPr>
          <p:cNvSpPr/>
          <p:nvPr/>
        </p:nvSpPr>
        <p:spPr>
          <a:xfrm>
            <a:off x="1057269" y="1415034"/>
            <a:ext cx="2278992" cy="1004316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Combinazione di più fattori di rischio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5005EF48-53B0-4BC3-ACEE-59F864038BB5}"/>
              </a:ext>
            </a:extLst>
          </p:cNvPr>
          <p:cNvSpPr txBox="1"/>
          <p:nvPr/>
        </p:nvSpPr>
        <p:spPr>
          <a:xfrm>
            <a:off x="1057269" y="974767"/>
            <a:ext cx="1080029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b="1" i="1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incipali elementi comuni</a:t>
            </a:r>
          </a:p>
        </p:txBody>
      </p:sp>
      <p:sp>
        <p:nvSpPr>
          <p:cNvPr id="27" name="Rectangle 11">
            <a:extLst>
              <a:ext uri="{FF2B5EF4-FFF2-40B4-BE49-F238E27FC236}">
                <a16:creationId xmlns:a16="http://schemas.microsoft.com/office/drawing/2014/main" id="{4949E1D5-DAC4-C354-29C5-CB4F105F26BE}"/>
              </a:ext>
            </a:extLst>
          </p:cNvPr>
          <p:cNvSpPr/>
          <p:nvPr/>
        </p:nvSpPr>
        <p:spPr>
          <a:xfrm>
            <a:off x="3364835" y="3625761"/>
            <a:ext cx="8492731" cy="100431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minazione di un livello di rischio complessivo al fine di rappresentare in maniera unitaria il livello di rischiosità dell’operazione/DDR (es. punteggi finali/coefficienti sintetici/</a:t>
            </a:r>
            <a:r>
              <a:rPr lang="it-IT" sz="14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e</a:t>
            </a: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plessivi)  </a:t>
            </a:r>
          </a:p>
        </p:txBody>
      </p:sp>
      <p:sp>
        <p:nvSpPr>
          <p:cNvPr id="29" name="Rectangle 5">
            <a:extLst>
              <a:ext uri="{FF2B5EF4-FFF2-40B4-BE49-F238E27FC236}">
                <a16:creationId xmlns:a16="http://schemas.microsoft.com/office/drawing/2014/main" id="{88CAC65E-038C-3A98-6AF9-A71AC0E11418}"/>
              </a:ext>
            </a:extLst>
          </p:cNvPr>
          <p:cNvSpPr/>
          <p:nvPr/>
        </p:nvSpPr>
        <p:spPr>
          <a:xfrm>
            <a:off x="1057268" y="3625761"/>
            <a:ext cx="2278992" cy="1004316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intesi del rischio</a:t>
            </a:r>
          </a:p>
        </p:txBody>
      </p:sp>
      <p:sp>
        <p:nvSpPr>
          <p:cNvPr id="34" name="Rectangle 11">
            <a:extLst>
              <a:ext uri="{FF2B5EF4-FFF2-40B4-BE49-F238E27FC236}">
                <a16:creationId xmlns:a16="http://schemas.microsoft.com/office/drawing/2014/main" id="{3C64A6D9-8EAA-6006-7FBD-7C8C93D24F45}"/>
              </a:ext>
            </a:extLst>
          </p:cNvPr>
          <p:cNvSpPr/>
          <p:nvPr/>
        </p:nvSpPr>
        <p:spPr>
          <a:xfrm>
            <a:off x="3364835" y="2521796"/>
            <a:ext cx="8492731" cy="100431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zione del livello di rischio per ciascun fattore tramite classi di rischio omogenee, rappresentate da fasce di punteggio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fasce più ricorrenti utilizzano punteggi da 1 a 3 (1 basso, 2 medio, 3 alto), con alcuni modelli articolati in 4 o 5 punteggi</a:t>
            </a: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ED94DCF3-5D41-C1B2-05B4-7247A4344A8A}"/>
              </a:ext>
            </a:extLst>
          </p:cNvPr>
          <p:cNvSpPr/>
          <p:nvPr/>
        </p:nvSpPr>
        <p:spPr>
          <a:xfrm>
            <a:off x="1057268" y="2521796"/>
            <a:ext cx="2278992" cy="1004316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Classificazione livello di rischio</a:t>
            </a: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63BE0FB6-E7C5-3E76-EEB2-39EC9719CD19}"/>
              </a:ext>
            </a:extLst>
          </p:cNvPr>
          <p:cNvSpPr/>
          <p:nvPr/>
        </p:nvSpPr>
        <p:spPr>
          <a:xfrm>
            <a:off x="3364835" y="4729170"/>
            <a:ext cx="8492731" cy="100431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ione di una revisione periodica al fine di tenere in debita considerazione l’evoluzione del contesto esaminato nonché il presentarsi di fattori e/o elementi in grado di incidere sulle analisi condotte</a:t>
            </a:r>
          </a:p>
        </p:txBody>
      </p:sp>
      <p:sp>
        <p:nvSpPr>
          <p:cNvPr id="39" name="Rectangle 5">
            <a:extLst>
              <a:ext uri="{FF2B5EF4-FFF2-40B4-BE49-F238E27FC236}">
                <a16:creationId xmlns:a16="http://schemas.microsoft.com/office/drawing/2014/main" id="{D34F5594-F3F9-1936-1570-382FBA704E2A}"/>
              </a:ext>
            </a:extLst>
          </p:cNvPr>
          <p:cNvSpPr/>
          <p:nvPr/>
        </p:nvSpPr>
        <p:spPr>
          <a:xfrm>
            <a:off x="1057268" y="4729170"/>
            <a:ext cx="2278992" cy="1004316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evisione di una revisione periodica</a:t>
            </a:r>
          </a:p>
        </p:txBody>
      </p:sp>
    </p:spTree>
    <p:extLst>
      <p:ext uri="{BB962C8B-B14F-4D97-AF65-F5344CB8AC3E}">
        <p14:creationId xmlns:p14="http://schemas.microsoft.com/office/powerpoint/2010/main" val="38883055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19A5FE-92B6-78AE-0002-21BC1B32B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7F3D55CB-17DC-0BE9-10DC-87A1980A8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279AC5-4256-B791-F9CB-42F9CD39ADD6}"/>
              </a:ext>
            </a:extLst>
          </p:cNvPr>
          <p:cNvSpPr txBox="1">
            <a:spLocks/>
          </p:cNvSpPr>
          <p:nvPr/>
        </p:nvSpPr>
        <p:spPr>
          <a:xfrm>
            <a:off x="462903" y="393797"/>
            <a:ext cx="10195200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kern="0" cap="small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aratteristiche </a:t>
            </a:r>
            <a:r>
              <a:rPr kumimoji="0" lang="it-IT" sz="2800" b="1" i="0" u="none" strike="noStrike" kern="0" cap="small" spc="0" normalizeH="0" baseline="0" noProof="0">
                <a:ln>
                  <a:noFill/>
                </a:ln>
                <a:solidFill>
                  <a:srgbClr val="0B306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etodologie utilizzate (3/7)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Sottotitolo 2">
            <a:extLst>
              <a:ext uri="{FF2B5EF4-FFF2-40B4-BE49-F238E27FC236}">
                <a16:creationId xmlns:a16="http://schemas.microsoft.com/office/drawing/2014/main" id="{A1CAF26B-4D61-929F-E051-252EF0EE6295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60579A3C-9B6A-32BB-DD0F-8C70E2263E1C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7F0F64F-7791-E078-0A7E-FB5E22D48972}"/>
              </a:ext>
            </a:extLst>
          </p:cNvPr>
          <p:cNvSpPr txBox="1"/>
          <p:nvPr/>
        </p:nvSpPr>
        <p:spPr>
          <a:xfrm>
            <a:off x="334432" y="1055859"/>
            <a:ext cx="17890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T. 74, par. 2 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. (UE)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1/1060</a:t>
            </a: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88C0D520-99B3-AB92-4881-2ABAF022590E}"/>
              </a:ext>
            </a:extLst>
          </p:cNvPr>
          <p:cNvSpPr/>
          <p:nvPr/>
        </p:nvSpPr>
        <p:spPr>
          <a:xfrm>
            <a:off x="3364836" y="1517760"/>
            <a:ext cx="8492731" cy="133674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odologie qualitative basate su valutazioni descrittive dei fattori di rischio volte a «orientare» le verifich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odologie quantitative basate su scoring, punteggi, coefficienti o matrici di rischio e che operano un vero e proprio calcolo metodologico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E86D4247-1315-F45B-90EC-CC2E6624B479}"/>
              </a:ext>
            </a:extLst>
          </p:cNvPr>
          <p:cNvSpPr/>
          <p:nvPr/>
        </p:nvSpPr>
        <p:spPr>
          <a:xfrm>
            <a:off x="1057269" y="1517760"/>
            <a:ext cx="2278992" cy="133674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etodologie qualitative vs. quantitative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3D24DE56-9A12-B423-73F9-4CA027904685}"/>
              </a:ext>
            </a:extLst>
          </p:cNvPr>
          <p:cNvSpPr txBox="1"/>
          <p:nvPr/>
        </p:nvSpPr>
        <p:spPr>
          <a:xfrm>
            <a:off x="1057269" y="974767"/>
            <a:ext cx="1080029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b="1" i="1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incipali differenze</a:t>
            </a:r>
          </a:p>
        </p:txBody>
      </p:sp>
      <p:sp>
        <p:nvSpPr>
          <p:cNvPr id="27" name="Rectangle 11">
            <a:extLst>
              <a:ext uri="{FF2B5EF4-FFF2-40B4-BE49-F238E27FC236}">
                <a16:creationId xmlns:a16="http://schemas.microsoft.com/office/drawing/2014/main" id="{6842B57B-C8C8-8B75-582D-E5D71EDBDA06}"/>
              </a:ext>
            </a:extLst>
          </p:cNvPr>
          <p:cNvSpPr/>
          <p:nvPr/>
        </p:nvSpPr>
        <p:spPr>
          <a:xfrm>
            <a:off x="3364835" y="2963129"/>
            <a:ext cx="8492731" cy="133674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alità di combinazione e ponderazione dei fattori di rischio: in alcuni casi il rischio finale deriva da media, somma o somma ponderata dei punteggi di rischio associati ai singoli fattori/categorie di fattori; in altri casi il rischio è costruito tramite combinazione a matrice dei punteggi di rischio associati ai singoli fattori/categorie di fattori</a:t>
            </a:r>
          </a:p>
        </p:txBody>
      </p:sp>
      <p:sp>
        <p:nvSpPr>
          <p:cNvPr id="29" name="Rectangle 5">
            <a:extLst>
              <a:ext uri="{FF2B5EF4-FFF2-40B4-BE49-F238E27FC236}">
                <a16:creationId xmlns:a16="http://schemas.microsoft.com/office/drawing/2014/main" id="{0D58B170-5AFE-4CC7-998B-F6AF1E57AD8A}"/>
              </a:ext>
            </a:extLst>
          </p:cNvPr>
          <p:cNvSpPr/>
          <p:nvPr/>
        </p:nvSpPr>
        <p:spPr>
          <a:xfrm>
            <a:off x="1057268" y="2963129"/>
            <a:ext cx="2278992" cy="133674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odalità di costruzione del rischio</a:t>
            </a:r>
          </a:p>
        </p:txBody>
      </p:sp>
      <p:sp>
        <p:nvSpPr>
          <p:cNvPr id="34" name="Rectangle 11">
            <a:extLst>
              <a:ext uri="{FF2B5EF4-FFF2-40B4-BE49-F238E27FC236}">
                <a16:creationId xmlns:a16="http://schemas.microsoft.com/office/drawing/2014/main" id="{2B9E8EED-66BC-2806-14C6-782734F3B2F6}"/>
              </a:ext>
            </a:extLst>
          </p:cNvPr>
          <p:cNvSpPr/>
          <p:nvPr/>
        </p:nvSpPr>
        <p:spPr>
          <a:xfrm>
            <a:off x="3364835" y="4426433"/>
            <a:ext cx="8492731" cy="133674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ze nella valutazione del livello di rischio per quel che riguarda, a titolo esemplificativo, le formule di calcolo utilizzate, la strutturazione degli </a:t>
            </a:r>
            <a:r>
              <a:rPr lang="it-IT" sz="14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ing</a:t>
            </a: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e soglie numeriche, il peso attribuito ai singoli fattori, le categorie di rischio, ecc.</a:t>
            </a: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8DEA2569-2EFC-05E4-0204-E265A62879E6}"/>
              </a:ext>
            </a:extLst>
          </p:cNvPr>
          <p:cNvSpPr/>
          <p:nvPr/>
        </p:nvSpPr>
        <p:spPr>
          <a:xfrm>
            <a:off x="1057268" y="4426433"/>
            <a:ext cx="2278992" cy="133674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Livello di strutturazione del rischio e modalità di calcolo</a:t>
            </a:r>
          </a:p>
        </p:txBody>
      </p:sp>
      <p:sp>
        <p:nvSpPr>
          <p:cNvPr id="7" name="Rectangle 29 - 2">
            <a:extLst>
              <a:ext uri="{FF2B5EF4-FFF2-40B4-BE49-F238E27FC236}">
                <a16:creationId xmlns:a16="http://schemas.microsoft.com/office/drawing/2014/main" id="{9E2D975D-E70F-DCB4-8DDB-7EF19A5B4D66}"/>
              </a:ext>
            </a:extLst>
          </p:cNvPr>
          <p:cNvSpPr/>
          <p:nvPr/>
        </p:nvSpPr>
        <p:spPr bwMode="auto">
          <a:xfrm rot="16200000">
            <a:off x="-1574008" y="3323472"/>
            <a:ext cx="4387107" cy="570226"/>
          </a:xfrm>
          <a:prstGeom prst="roundRect">
            <a:avLst>
              <a:gd name="adj" fmla="val 27360"/>
            </a:avLst>
          </a:prstGeom>
          <a:noFill/>
          <a:ln>
            <a:solidFill>
              <a:srgbClr val="006643"/>
            </a:solidFill>
          </a:ln>
          <a:effectLst>
            <a:outerShdw blurRad="63500" sx="101000" sy="101000" algn="ctr" rotWithShape="0">
              <a:schemeClr val="accent4">
                <a:lumMod val="75000"/>
                <a:alpha val="4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fontAlgn="base">
              <a:lnSpc>
                <a:spcPct val="90000"/>
              </a:lnSpc>
              <a:defRPr/>
            </a:pPr>
            <a:r>
              <a:rPr lang="it-IT" b="1" cap="all">
                <a:solidFill>
                  <a:srgbClr val="006643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todologia di calcolo del rischio</a:t>
            </a:r>
          </a:p>
        </p:txBody>
      </p:sp>
      <p:sp>
        <p:nvSpPr>
          <p:cNvPr id="10" name="Oval 15">
            <a:extLst>
              <a:ext uri="{FF2B5EF4-FFF2-40B4-BE49-F238E27FC236}">
                <a16:creationId xmlns:a16="http://schemas.microsoft.com/office/drawing/2014/main" id="{A1E1417B-A099-E196-F2C4-44FBD4027646}"/>
              </a:ext>
            </a:extLst>
          </p:cNvPr>
          <p:cNvSpPr>
            <a:spLocks noChangeAspect="1"/>
          </p:cNvSpPr>
          <p:nvPr/>
        </p:nvSpPr>
        <p:spPr>
          <a:xfrm>
            <a:off x="396452" y="945534"/>
            <a:ext cx="446186" cy="360000"/>
          </a:xfrm>
          <a:prstGeom prst="ellipse">
            <a:avLst/>
          </a:prstGeom>
          <a:solidFill>
            <a:srgbClr val="00664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5498376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AABAC6-33BC-A784-B1AA-038A09046E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C2C215DF-A39B-C9B9-ABFB-DC4474D32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6AB2031-F136-8171-4185-4610842E4669}"/>
              </a:ext>
            </a:extLst>
          </p:cNvPr>
          <p:cNvSpPr txBox="1">
            <a:spLocks/>
          </p:cNvSpPr>
          <p:nvPr/>
        </p:nvSpPr>
        <p:spPr>
          <a:xfrm>
            <a:off x="462903" y="393797"/>
            <a:ext cx="10195200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kern="0" cap="small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aratteristiche </a:t>
            </a:r>
            <a:r>
              <a:rPr kumimoji="0" lang="it-IT" sz="2800" b="1" i="0" u="none" strike="noStrike" kern="0" cap="small" spc="0" normalizeH="0" baseline="0" noProof="0">
                <a:ln>
                  <a:noFill/>
                </a:ln>
                <a:solidFill>
                  <a:srgbClr val="0B306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etodologie utilizzate (4/7)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Sottotitolo 2">
            <a:extLst>
              <a:ext uri="{FF2B5EF4-FFF2-40B4-BE49-F238E27FC236}">
                <a16:creationId xmlns:a16="http://schemas.microsoft.com/office/drawing/2014/main" id="{DA12D59C-61C8-41EE-DE18-0F9FF21AF611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5175D07B-5027-BF17-5027-71E12F182122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9424FAC6-8860-2210-487E-FCE9E2E13940}"/>
              </a:ext>
            </a:extLst>
          </p:cNvPr>
          <p:cNvSpPr txBox="1"/>
          <p:nvPr/>
        </p:nvSpPr>
        <p:spPr>
          <a:xfrm>
            <a:off x="334432" y="1055859"/>
            <a:ext cx="17890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T. 74, par. 2 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. (UE)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1/1060</a:t>
            </a: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B4139CA2-9150-B792-11D1-32D8ED63BA67}"/>
              </a:ext>
            </a:extLst>
          </p:cNvPr>
          <p:cNvSpPr/>
          <p:nvPr/>
        </p:nvSpPr>
        <p:spPr>
          <a:xfrm>
            <a:off x="3364836" y="1415033"/>
            <a:ext cx="8492731" cy="2130163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ddivisione dell’universo di riferimento in gruppi di rischio omogenei («strati»), tendenzialmente riconducibili a livello di rischio basso, medio, alto</a:t>
            </a:r>
          </a:p>
          <a:p>
            <a:endParaRPr lang="it-IT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azione delle verifiche sulla base dello strato di appartenenza, con incidenza sull’estensione dei controlli e sull’ampiezza del campione (applicazione di percentuali di campionamento diverse, concentrazione delle verifiche sulle DDR considerate più rischiose)</a:t>
            </a:r>
          </a:p>
          <a:p>
            <a:endParaRPr lang="it-IT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ificazione e soglie di campionamento generalmente collegate al livello di rischiosità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E3438018-18B8-B8EE-6731-F56A7295741E}"/>
              </a:ext>
            </a:extLst>
          </p:cNvPr>
          <p:cNvSpPr/>
          <p:nvPr/>
        </p:nvSpPr>
        <p:spPr>
          <a:xfrm>
            <a:off x="1057269" y="1415033"/>
            <a:ext cx="2278992" cy="2142563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tratificazione con differenti soglie di campionamento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337B0322-B2C1-0BFB-2F53-35B8A9EB04F8}"/>
              </a:ext>
            </a:extLst>
          </p:cNvPr>
          <p:cNvSpPr txBox="1"/>
          <p:nvPr/>
        </p:nvSpPr>
        <p:spPr>
          <a:xfrm>
            <a:off x="1057269" y="974767"/>
            <a:ext cx="1080029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b="1" i="1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incipali elementi comuni</a:t>
            </a: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4996B4F8-FBF8-1328-FB74-56B140D41418}"/>
              </a:ext>
            </a:extLst>
          </p:cNvPr>
          <p:cNvSpPr/>
          <p:nvPr/>
        </p:nvSpPr>
        <p:spPr>
          <a:xfrm>
            <a:off x="3364835" y="3570049"/>
            <a:ext cx="8492731" cy="2163437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ione della possibilità di ampliare il campione inizialmente selezionato qualora emergano irregolarità o elevati tassi di errore</a:t>
            </a:r>
          </a:p>
        </p:txBody>
      </p:sp>
      <p:sp>
        <p:nvSpPr>
          <p:cNvPr id="39" name="Rectangle 5">
            <a:extLst>
              <a:ext uri="{FF2B5EF4-FFF2-40B4-BE49-F238E27FC236}">
                <a16:creationId xmlns:a16="http://schemas.microsoft.com/office/drawing/2014/main" id="{2411CD4B-8D94-4982-0762-62BDA5A2B886}"/>
              </a:ext>
            </a:extLst>
          </p:cNvPr>
          <p:cNvSpPr/>
          <p:nvPr/>
        </p:nvSpPr>
        <p:spPr>
          <a:xfrm>
            <a:off x="1057268" y="3590924"/>
            <a:ext cx="2278992" cy="2142562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mpliamento del campione in caso di irregolarità riscontrate in fase di controllo</a:t>
            </a:r>
          </a:p>
        </p:txBody>
      </p:sp>
      <p:sp>
        <p:nvSpPr>
          <p:cNvPr id="5" name="Rectangle 29 - 2">
            <a:extLst>
              <a:ext uri="{FF2B5EF4-FFF2-40B4-BE49-F238E27FC236}">
                <a16:creationId xmlns:a16="http://schemas.microsoft.com/office/drawing/2014/main" id="{AE43D5C6-BDE0-5B75-313E-C11E463C9257}"/>
              </a:ext>
            </a:extLst>
          </p:cNvPr>
          <p:cNvSpPr/>
          <p:nvPr/>
        </p:nvSpPr>
        <p:spPr bwMode="auto">
          <a:xfrm rot="16200000">
            <a:off x="-1574008" y="3323472"/>
            <a:ext cx="4387107" cy="570226"/>
          </a:xfrm>
          <a:prstGeom prst="roundRect">
            <a:avLst>
              <a:gd name="adj" fmla="val 27360"/>
            </a:avLst>
          </a:prstGeom>
          <a:noFill/>
          <a:ln>
            <a:solidFill>
              <a:srgbClr val="002776"/>
            </a:solidFill>
          </a:ln>
          <a:effectLst>
            <a:outerShdw blurRad="63500" sx="101000" sy="101000" algn="ctr" rotWithShape="0">
              <a:srgbClr val="002776">
                <a:alpha val="4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fontAlgn="base">
              <a:lnSpc>
                <a:spcPct val="90000"/>
              </a:lnSpc>
              <a:defRPr/>
            </a:pPr>
            <a:r>
              <a:rPr lang="it-IT" b="1" cap="all">
                <a:solidFill>
                  <a:srgbClr val="002776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ATIFICAZIONE E CAMPIONAMENTO</a:t>
            </a:r>
          </a:p>
        </p:txBody>
      </p:sp>
      <p:sp>
        <p:nvSpPr>
          <p:cNvPr id="7" name="Oval 15">
            <a:extLst>
              <a:ext uri="{FF2B5EF4-FFF2-40B4-BE49-F238E27FC236}">
                <a16:creationId xmlns:a16="http://schemas.microsoft.com/office/drawing/2014/main" id="{B2357E55-3E44-3573-7A61-38B8F2C5B598}"/>
              </a:ext>
            </a:extLst>
          </p:cNvPr>
          <p:cNvSpPr>
            <a:spLocks noChangeAspect="1"/>
          </p:cNvSpPr>
          <p:nvPr/>
        </p:nvSpPr>
        <p:spPr>
          <a:xfrm>
            <a:off x="396452" y="945534"/>
            <a:ext cx="446186" cy="360000"/>
          </a:xfrm>
          <a:prstGeom prst="ellipse">
            <a:avLst/>
          </a:prstGeom>
          <a:solidFill>
            <a:srgbClr val="00277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8983577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D8FC4C-F153-DBF8-FD63-136DD57438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7578A285-7602-40CA-F171-E213378C4D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430C50F-599A-3B60-EA4F-1EDA2CC39C5B}"/>
              </a:ext>
            </a:extLst>
          </p:cNvPr>
          <p:cNvSpPr txBox="1">
            <a:spLocks/>
          </p:cNvSpPr>
          <p:nvPr/>
        </p:nvSpPr>
        <p:spPr>
          <a:xfrm>
            <a:off x="462903" y="393797"/>
            <a:ext cx="10195200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kern="0" cap="small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aratteristiche </a:t>
            </a:r>
            <a:r>
              <a:rPr kumimoji="0" lang="it-IT" sz="2800" b="1" i="0" u="none" strike="noStrike" kern="0" cap="small" spc="0" normalizeH="0" baseline="0" noProof="0">
                <a:ln>
                  <a:noFill/>
                </a:ln>
                <a:solidFill>
                  <a:srgbClr val="0B306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etodologie utilizzate (5/7)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Sottotitolo 2">
            <a:extLst>
              <a:ext uri="{FF2B5EF4-FFF2-40B4-BE49-F238E27FC236}">
                <a16:creationId xmlns:a16="http://schemas.microsoft.com/office/drawing/2014/main" id="{B2FD12F9-9873-F39E-0413-25D643D01125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0D32BF0D-5F58-42D5-041B-22AC1F22F518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53001761-DA83-A342-0A92-5BB990127137}"/>
              </a:ext>
            </a:extLst>
          </p:cNvPr>
          <p:cNvSpPr txBox="1"/>
          <p:nvPr/>
        </p:nvSpPr>
        <p:spPr>
          <a:xfrm>
            <a:off x="334432" y="1055859"/>
            <a:ext cx="17890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T. 74, par. 2 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. (UE)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1/1060</a:t>
            </a: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5D2605C9-76F0-3132-AF45-ACD1207F7C11}"/>
              </a:ext>
            </a:extLst>
          </p:cNvPr>
          <p:cNvSpPr/>
          <p:nvPr/>
        </p:nvSpPr>
        <p:spPr>
          <a:xfrm>
            <a:off x="3364836" y="1415034"/>
            <a:ext cx="8492731" cy="86144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alità di selezione delle operazioni/DDR ricomprese nel campione: campionamento statistico/non statistico; campionamenti casuali; selezione tramite </a:t>
            </a:r>
            <a:r>
              <a:rPr lang="it-IT" sz="14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king</a:t>
            </a: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it-IT" sz="14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ing</a:t>
            </a: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rischio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4C2FB48D-5006-82D9-9248-9499F46E803A}"/>
              </a:ext>
            </a:extLst>
          </p:cNvPr>
          <p:cNvSpPr/>
          <p:nvPr/>
        </p:nvSpPr>
        <p:spPr>
          <a:xfrm>
            <a:off x="1057269" y="1415034"/>
            <a:ext cx="2278992" cy="86144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odalità di campionamento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F6727AC1-7F72-EECA-E488-882E075345B1}"/>
              </a:ext>
            </a:extLst>
          </p:cNvPr>
          <p:cNvSpPr txBox="1"/>
          <p:nvPr/>
        </p:nvSpPr>
        <p:spPr>
          <a:xfrm>
            <a:off x="1057269" y="974767"/>
            <a:ext cx="1080029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b="1" i="1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incipali differenze</a:t>
            </a:r>
          </a:p>
        </p:txBody>
      </p:sp>
      <p:sp>
        <p:nvSpPr>
          <p:cNvPr id="27" name="Rectangle 11">
            <a:extLst>
              <a:ext uri="{FF2B5EF4-FFF2-40B4-BE49-F238E27FC236}">
                <a16:creationId xmlns:a16="http://schemas.microsoft.com/office/drawing/2014/main" id="{A723B8B3-4473-7258-01E2-EF5D0C8E50E7}"/>
              </a:ext>
            </a:extLst>
          </p:cNvPr>
          <p:cNvSpPr/>
          <p:nvPr/>
        </p:nvSpPr>
        <p:spPr>
          <a:xfrm>
            <a:off x="3364835" y="2329246"/>
            <a:ext cx="8492731" cy="86144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alità di costruzione degli strati dell’universo controllabile, sulla base: del livello di rischio, della tipologia di beneficiario, dell’importo dell’operazione, del macro-processo, ecc.</a:t>
            </a:r>
          </a:p>
        </p:txBody>
      </p:sp>
      <p:sp>
        <p:nvSpPr>
          <p:cNvPr id="29" name="Rectangle 5">
            <a:extLst>
              <a:ext uri="{FF2B5EF4-FFF2-40B4-BE49-F238E27FC236}">
                <a16:creationId xmlns:a16="http://schemas.microsoft.com/office/drawing/2014/main" id="{3AA6DE26-3EC8-1B70-A8B1-ECA9A2C35D6F}"/>
              </a:ext>
            </a:extLst>
          </p:cNvPr>
          <p:cNvSpPr/>
          <p:nvPr/>
        </p:nvSpPr>
        <p:spPr>
          <a:xfrm>
            <a:off x="1057268" y="2329246"/>
            <a:ext cx="2278992" cy="86144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Criteri di stratificazione ai fini del campionamento</a:t>
            </a:r>
          </a:p>
        </p:txBody>
      </p:sp>
      <p:sp>
        <p:nvSpPr>
          <p:cNvPr id="34" name="Rectangle 11">
            <a:extLst>
              <a:ext uri="{FF2B5EF4-FFF2-40B4-BE49-F238E27FC236}">
                <a16:creationId xmlns:a16="http://schemas.microsoft.com/office/drawing/2014/main" id="{74064383-0858-665C-84A7-DF7F80C928B6}"/>
              </a:ext>
            </a:extLst>
          </p:cNvPr>
          <p:cNvSpPr/>
          <p:nvPr/>
        </p:nvSpPr>
        <p:spPr>
          <a:xfrm>
            <a:off x="3364835" y="3243458"/>
            <a:ext cx="8492731" cy="86144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alità di modulazione dell’intensità di controllo, dell’associazione classi di rischio a differenti soglie di campionamento dell’ estensione dei controlli (es. controlli al 100%), sulla base di diverse soglie/percentuali</a:t>
            </a: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8624D394-60AA-2388-6F80-43519163C181}"/>
              </a:ext>
            </a:extLst>
          </p:cNvPr>
          <p:cNvSpPr/>
          <p:nvPr/>
        </p:nvSpPr>
        <p:spPr>
          <a:xfrm>
            <a:off x="1057268" y="3243458"/>
            <a:ext cx="2278992" cy="86144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ntensità e soglie di controllo</a:t>
            </a:r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B74D97B0-692F-EF7B-FB73-3B49F0927B53}"/>
              </a:ext>
            </a:extLst>
          </p:cNvPr>
          <p:cNvSpPr/>
          <p:nvPr/>
        </p:nvSpPr>
        <p:spPr>
          <a:xfrm>
            <a:off x="3364835" y="4148145"/>
            <a:ext cx="8492731" cy="86144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za in alcune metodologie di sub-campionamento dei giustificativi/item di spesa</a:t>
            </a: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96B45AEB-F5DF-68CE-A7C9-AC94EEA685F7}"/>
              </a:ext>
            </a:extLst>
          </p:cNvPr>
          <p:cNvSpPr/>
          <p:nvPr/>
        </p:nvSpPr>
        <p:spPr>
          <a:xfrm>
            <a:off x="1057268" y="4148145"/>
            <a:ext cx="2278992" cy="86144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esenza di sub-campionamenti</a:t>
            </a:r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188D31D0-73F1-F7E9-DCEA-43E524500B8A}"/>
              </a:ext>
            </a:extLst>
          </p:cNvPr>
          <p:cNvSpPr/>
          <p:nvPr/>
        </p:nvSpPr>
        <p:spPr>
          <a:xfrm>
            <a:off x="3364835" y="5052832"/>
            <a:ext cx="8492731" cy="86144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se tempistiche di definizione l’universo di riferimento e di estrazione del campione, a titolo esemplificativo: cadenza periodica (es. mensile, trimestrale, ecc.), aggiornamento progressivo sulla base delle nuove DDR, valutazione per singolo bando/misura (es. successivamente alla pubblicazione della graduatoria di ammissione a finanziamento)</a:t>
            </a: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1456E99D-E6F4-B761-3F86-17249EF21B15}"/>
              </a:ext>
            </a:extLst>
          </p:cNvPr>
          <p:cNvSpPr/>
          <p:nvPr/>
        </p:nvSpPr>
        <p:spPr>
          <a:xfrm>
            <a:off x="1057268" y="5052832"/>
            <a:ext cx="2278992" cy="86144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eriodicità ed estrazione del campione</a:t>
            </a:r>
          </a:p>
        </p:txBody>
      </p:sp>
      <p:sp>
        <p:nvSpPr>
          <p:cNvPr id="19" name="Rectangle 29 - 2">
            <a:extLst>
              <a:ext uri="{FF2B5EF4-FFF2-40B4-BE49-F238E27FC236}">
                <a16:creationId xmlns:a16="http://schemas.microsoft.com/office/drawing/2014/main" id="{7CD8993E-8084-0C6A-8138-90F5565933AB}"/>
              </a:ext>
            </a:extLst>
          </p:cNvPr>
          <p:cNvSpPr/>
          <p:nvPr/>
        </p:nvSpPr>
        <p:spPr bwMode="auto">
          <a:xfrm rot="16200000">
            <a:off x="-1574008" y="3323472"/>
            <a:ext cx="4387107" cy="570226"/>
          </a:xfrm>
          <a:prstGeom prst="roundRect">
            <a:avLst>
              <a:gd name="adj" fmla="val 27360"/>
            </a:avLst>
          </a:prstGeom>
          <a:noFill/>
          <a:ln>
            <a:solidFill>
              <a:srgbClr val="002776"/>
            </a:solidFill>
          </a:ln>
          <a:effectLst>
            <a:outerShdw blurRad="63500" sx="101000" sy="101000" algn="ctr" rotWithShape="0">
              <a:srgbClr val="002776">
                <a:alpha val="4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fontAlgn="base">
              <a:lnSpc>
                <a:spcPct val="90000"/>
              </a:lnSpc>
              <a:defRPr/>
            </a:pPr>
            <a:r>
              <a:rPr lang="it-IT" b="1" cap="all">
                <a:solidFill>
                  <a:srgbClr val="002776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ATIFICAZIONE E CAMPIONAMENTO</a:t>
            </a:r>
          </a:p>
        </p:txBody>
      </p:sp>
      <p:sp>
        <p:nvSpPr>
          <p:cNvPr id="21" name="Oval 15">
            <a:extLst>
              <a:ext uri="{FF2B5EF4-FFF2-40B4-BE49-F238E27FC236}">
                <a16:creationId xmlns:a16="http://schemas.microsoft.com/office/drawing/2014/main" id="{D415D255-E4AF-7A80-99A8-865DA514C8EA}"/>
              </a:ext>
            </a:extLst>
          </p:cNvPr>
          <p:cNvSpPr>
            <a:spLocks noChangeAspect="1"/>
          </p:cNvSpPr>
          <p:nvPr/>
        </p:nvSpPr>
        <p:spPr>
          <a:xfrm>
            <a:off x="396452" y="945534"/>
            <a:ext cx="446186" cy="360000"/>
          </a:xfrm>
          <a:prstGeom prst="ellipse">
            <a:avLst/>
          </a:prstGeom>
          <a:solidFill>
            <a:srgbClr val="00277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0006332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145468-2AC7-E259-AB38-EBDD6F2AA2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C0C2967B-63B2-4681-A14D-AB1D74460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55328D5-6F56-82D9-F33C-538AFA766C94}"/>
              </a:ext>
            </a:extLst>
          </p:cNvPr>
          <p:cNvSpPr txBox="1">
            <a:spLocks/>
          </p:cNvSpPr>
          <p:nvPr/>
        </p:nvSpPr>
        <p:spPr>
          <a:xfrm>
            <a:off x="462903" y="393797"/>
            <a:ext cx="10195200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kern="0" cap="small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aratteristiche </a:t>
            </a:r>
            <a:r>
              <a:rPr kumimoji="0" lang="it-IT" sz="2800" b="1" i="0" u="none" strike="noStrike" kern="0" cap="small" spc="0" normalizeH="0" baseline="0" noProof="0">
                <a:ln>
                  <a:noFill/>
                </a:ln>
                <a:solidFill>
                  <a:srgbClr val="0B306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etodologie utilizzate (6/7)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Sottotitolo 2">
            <a:extLst>
              <a:ext uri="{FF2B5EF4-FFF2-40B4-BE49-F238E27FC236}">
                <a16:creationId xmlns:a16="http://schemas.microsoft.com/office/drawing/2014/main" id="{085F541B-AF9A-BDE8-13B6-5188AFF3049D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D7378B15-032F-520A-2C7A-41F005F274D0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B7E1AE9F-851A-E982-0059-BCB426CAEA84}"/>
              </a:ext>
            </a:extLst>
          </p:cNvPr>
          <p:cNvSpPr txBox="1"/>
          <p:nvPr/>
        </p:nvSpPr>
        <p:spPr>
          <a:xfrm>
            <a:off x="334432" y="1055859"/>
            <a:ext cx="17890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T. 74, par. 2 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. (UE)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1/1060</a:t>
            </a: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7A38EEAF-9400-F55B-74F9-DE3C4555F814}"/>
              </a:ext>
            </a:extLst>
          </p:cNvPr>
          <p:cNvSpPr/>
          <p:nvPr/>
        </p:nvSpPr>
        <p:spPr>
          <a:xfrm>
            <a:off x="3364836" y="1415033"/>
            <a:ext cx="8492731" cy="2130163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rgbClr val="0027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tori legati alle caratteristiche proprie dell’operazione/DDR, come ad esempio: la tipologia di beneficiario, la tipologia di operazione, la tipologia di rendicontazione, il valore finanziario, la numerosità dei soggetti coinvolti, la procedura di affidamento utilizzata, ecc.</a:t>
            </a:r>
            <a:endParaRPr lang="it-IT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4E10828B-365A-4C4F-24FD-1E25AA8E82EE}"/>
              </a:ext>
            </a:extLst>
          </p:cNvPr>
          <p:cNvSpPr/>
          <p:nvPr/>
        </p:nvSpPr>
        <p:spPr>
          <a:xfrm>
            <a:off x="1057269" y="1415033"/>
            <a:ext cx="2278992" cy="2142563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Fattori di rischio intrinseco</a:t>
            </a:r>
          </a:p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IR)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10AAD035-5168-E327-7E22-C0B0E5A45FDE}"/>
              </a:ext>
            </a:extLst>
          </p:cNvPr>
          <p:cNvSpPr txBox="1"/>
          <p:nvPr/>
        </p:nvSpPr>
        <p:spPr>
          <a:xfrm>
            <a:off x="1057269" y="974767"/>
            <a:ext cx="1080029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b="1" i="1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incipali elementi comuni</a:t>
            </a: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36E496E1-FDB1-3FA7-7B63-09D6899118A9}"/>
              </a:ext>
            </a:extLst>
          </p:cNvPr>
          <p:cNvSpPr/>
          <p:nvPr/>
        </p:nvSpPr>
        <p:spPr>
          <a:xfrm>
            <a:off x="3364835" y="3570049"/>
            <a:ext cx="8492731" cy="2163437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rgbClr val="0027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tori collegati agli esiti delle attività di controllo, come ad esempio: gli esiti dei controlli di I livello, delle verifiche </a:t>
            </a:r>
            <a:r>
              <a:rPr lang="it-IT" sz="1400" err="1">
                <a:solidFill>
                  <a:srgbClr val="0027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A</a:t>
            </a:r>
            <a:r>
              <a:rPr lang="it-IT" sz="1400">
                <a:solidFill>
                  <a:srgbClr val="0027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dei tassi di errore, revoche o irregolarità pregresse, ecc.</a:t>
            </a:r>
            <a:endParaRPr lang="it-IT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5">
            <a:extLst>
              <a:ext uri="{FF2B5EF4-FFF2-40B4-BE49-F238E27FC236}">
                <a16:creationId xmlns:a16="http://schemas.microsoft.com/office/drawing/2014/main" id="{2352F650-846E-FF1B-EFAC-63B9D7142882}"/>
              </a:ext>
            </a:extLst>
          </p:cNvPr>
          <p:cNvSpPr/>
          <p:nvPr/>
        </p:nvSpPr>
        <p:spPr>
          <a:xfrm>
            <a:off x="1057268" y="3590924"/>
            <a:ext cx="2278992" cy="2142562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Fattori di rischio di controllo</a:t>
            </a:r>
          </a:p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CR)</a:t>
            </a:r>
          </a:p>
        </p:txBody>
      </p:sp>
      <p:sp>
        <p:nvSpPr>
          <p:cNvPr id="5" name="Rectangle 29 - 2">
            <a:extLst>
              <a:ext uri="{FF2B5EF4-FFF2-40B4-BE49-F238E27FC236}">
                <a16:creationId xmlns:a16="http://schemas.microsoft.com/office/drawing/2014/main" id="{3C91F920-F27D-D4EA-47F9-A9362B4C0846}"/>
              </a:ext>
            </a:extLst>
          </p:cNvPr>
          <p:cNvSpPr/>
          <p:nvPr/>
        </p:nvSpPr>
        <p:spPr bwMode="auto">
          <a:xfrm rot="16200000">
            <a:off x="-1574008" y="3323472"/>
            <a:ext cx="4387107" cy="570226"/>
          </a:xfrm>
          <a:prstGeom prst="roundRect">
            <a:avLst>
              <a:gd name="adj" fmla="val 27360"/>
            </a:avLst>
          </a:prstGeom>
          <a:noFill/>
          <a:ln>
            <a:solidFill>
              <a:srgbClr val="C00000"/>
            </a:solidFill>
          </a:ln>
          <a:effectLst>
            <a:outerShdw blurRad="63500" sx="101000" sy="101000" algn="ctr" rotWithShape="0">
              <a:schemeClr val="accent6">
                <a:lumMod val="50000"/>
                <a:alpha val="4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fontAlgn="base">
              <a:lnSpc>
                <a:spcPct val="90000"/>
              </a:lnSpc>
              <a:defRPr/>
            </a:pPr>
            <a:r>
              <a:rPr lang="it-IT" b="1" cap="all">
                <a:solidFill>
                  <a:srgbClr val="C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TORI DI RISCHIO</a:t>
            </a:r>
          </a:p>
        </p:txBody>
      </p:sp>
      <p:sp>
        <p:nvSpPr>
          <p:cNvPr id="7" name="Oval 15">
            <a:extLst>
              <a:ext uri="{FF2B5EF4-FFF2-40B4-BE49-F238E27FC236}">
                <a16:creationId xmlns:a16="http://schemas.microsoft.com/office/drawing/2014/main" id="{3C7FBB47-FE27-79F3-26C9-F8EB6C403CDC}"/>
              </a:ext>
            </a:extLst>
          </p:cNvPr>
          <p:cNvSpPr>
            <a:spLocks noChangeAspect="1"/>
          </p:cNvSpPr>
          <p:nvPr/>
        </p:nvSpPr>
        <p:spPr>
          <a:xfrm>
            <a:off x="396452" y="945534"/>
            <a:ext cx="446186" cy="360000"/>
          </a:xfrm>
          <a:prstGeom prst="ellipse">
            <a:avLst/>
          </a:prstGeom>
          <a:solidFill>
            <a:srgbClr val="C0000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769097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25875-B8E0-F9DB-1C3F-DBD1E2C3B9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AC91655F-B911-51B7-BBE8-E4BC8C9284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13B8836-CBB4-7EA9-9E24-DF3A50357E03}"/>
              </a:ext>
            </a:extLst>
          </p:cNvPr>
          <p:cNvSpPr txBox="1">
            <a:spLocks/>
          </p:cNvSpPr>
          <p:nvPr/>
        </p:nvSpPr>
        <p:spPr>
          <a:xfrm>
            <a:off x="462903" y="393797"/>
            <a:ext cx="10195200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kern="0" cap="small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aratteristiche </a:t>
            </a:r>
            <a:r>
              <a:rPr kumimoji="0" lang="it-IT" sz="2800" b="1" i="0" u="none" strike="noStrike" kern="0" cap="small" spc="0" normalizeH="0" baseline="0" noProof="0">
                <a:ln>
                  <a:noFill/>
                </a:ln>
                <a:solidFill>
                  <a:srgbClr val="0B306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etodologie utilizzate (7/7)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Sottotitolo 2">
            <a:extLst>
              <a:ext uri="{FF2B5EF4-FFF2-40B4-BE49-F238E27FC236}">
                <a16:creationId xmlns:a16="http://schemas.microsoft.com/office/drawing/2014/main" id="{0ED47B1C-6804-ADA2-379B-53DD86238F28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C55629A0-78A1-7BA8-A9FA-B8B1BE73A375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E223247D-B5F0-CACD-F533-114C2352A380}"/>
              </a:ext>
            </a:extLst>
          </p:cNvPr>
          <p:cNvSpPr txBox="1"/>
          <p:nvPr/>
        </p:nvSpPr>
        <p:spPr>
          <a:xfrm>
            <a:off x="334432" y="1055859"/>
            <a:ext cx="17890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T. 74, par. 2 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. (UE)</a:t>
            </a:r>
          </a:p>
          <a:p>
            <a:pPr algn="ctr"/>
            <a:r>
              <a:rPr lang="it-IT" sz="14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1/1060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652C3F7C-BD22-A250-1C3E-1460DCA1D4B7}"/>
              </a:ext>
            </a:extLst>
          </p:cNvPr>
          <p:cNvSpPr txBox="1"/>
          <p:nvPr/>
        </p:nvSpPr>
        <p:spPr>
          <a:xfrm>
            <a:off x="1057269" y="974767"/>
            <a:ext cx="1080029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b="1" i="1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incipali differenze</a:t>
            </a: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D91AFBAE-5C2E-4504-A976-9CDBFBEF4A25}"/>
              </a:ext>
            </a:extLst>
          </p:cNvPr>
          <p:cNvSpPr/>
          <p:nvPr/>
        </p:nvSpPr>
        <p:spPr>
          <a:xfrm>
            <a:off x="3364836" y="1517760"/>
            <a:ext cx="8492731" cy="133674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metodologie presentano livelli di dettaglio differenti nella definizione dei fattori di risch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cune metodologie utilizzano fattori di rischio sintetici, indicatori aggregati, classificazioni semplific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cune metodologie sono più analitiche e prevedono articolazioni dettagliate dei singoli fattori, sotto-categorie specifiche, fattori distinti per beneficiario o operazione (es. operazioni a titolarità/a regia)</a:t>
            </a: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CF77D617-5BFB-8A88-F5B3-5AA9A86372B6}"/>
              </a:ext>
            </a:extLst>
          </p:cNvPr>
          <p:cNvSpPr/>
          <p:nvPr/>
        </p:nvSpPr>
        <p:spPr>
          <a:xfrm>
            <a:off x="1057269" y="1517760"/>
            <a:ext cx="2278992" cy="133674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Livello di dettaglio dei fattori considerati </a:t>
            </a:r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78AE0850-B5F7-8503-2191-E4F765985CE5}"/>
              </a:ext>
            </a:extLst>
          </p:cNvPr>
          <p:cNvSpPr/>
          <p:nvPr/>
        </p:nvSpPr>
        <p:spPr>
          <a:xfrm>
            <a:off x="3364835" y="2963129"/>
            <a:ext cx="8492731" cy="133674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rgbClr val="0027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alcuni Programmi l’analisi dei rischi condotta sui dati storici ha comportato il mantenimento delle verifiche sul 100% delle DDR (con campionamento degli item di spesa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rgbClr val="0027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alcune metodologie i dati storici basati su audit precedenti, esiti dei controlli di I livello e tassi di errore, revoche o irregolarità influiscono direttamente sulla costruzione del rischio, in altre non risultano pienamente integrati nella metodologia</a:t>
            </a: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D7232B7F-EE05-921F-3FAF-FA20EF2C0F4A}"/>
              </a:ext>
            </a:extLst>
          </p:cNvPr>
          <p:cNvSpPr/>
          <p:nvPr/>
        </p:nvSpPr>
        <p:spPr>
          <a:xfrm>
            <a:off x="1057268" y="2963129"/>
            <a:ext cx="2278992" cy="133674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Utilizzo dei dati storici</a:t>
            </a:r>
          </a:p>
        </p:txBody>
      </p:sp>
      <p:sp>
        <p:nvSpPr>
          <p:cNvPr id="18" name="Rectangle 11">
            <a:extLst>
              <a:ext uri="{FF2B5EF4-FFF2-40B4-BE49-F238E27FC236}">
                <a16:creationId xmlns:a16="http://schemas.microsoft.com/office/drawing/2014/main" id="{8142B102-598F-3E6F-C2DE-51358CC4932A}"/>
              </a:ext>
            </a:extLst>
          </p:cNvPr>
          <p:cNvSpPr/>
          <p:nvPr/>
        </p:nvSpPr>
        <p:spPr>
          <a:xfrm>
            <a:off x="3364835" y="4426433"/>
            <a:ext cx="8492731" cy="133674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ti livelli di rischiosità attribuita ai singoli fattori di risch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ti modalità di attribuzione del livello di rischio ai singoli fattori considerati, come ad esempio: classi/fasce di rischio (es. punteggi 1-3), utilizzo di punteggi numerici articolati o valori decimali</a:t>
            </a: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495AB9AF-A0F9-19EC-44F4-EF72AE8F0029}"/>
              </a:ext>
            </a:extLst>
          </p:cNvPr>
          <p:cNvSpPr/>
          <p:nvPr/>
        </p:nvSpPr>
        <p:spPr>
          <a:xfrm>
            <a:off x="1057268" y="4426433"/>
            <a:ext cx="2278992" cy="133674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pPr algn="ctr"/>
            <a:r>
              <a:rPr lang="it-IT" sz="1600" b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Livello e tipologia di rischiosità attribuita ai singoli fattori</a:t>
            </a:r>
          </a:p>
        </p:txBody>
      </p:sp>
      <p:sp>
        <p:nvSpPr>
          <p:cNvPr id="21" name="Rectangle 29 - 2">
            <a:extLst>
              <a:ext uri="{FF2B5EF4-FFF2-40B4-BE49-F238E27FC236}">
                <a16:creationId xmlns:a16="http://schemas.microsoft.com/office/drawing/2014/main" id="{6A3D5A34-B5E2-D24F-998D-754D0923AC1B}"/>
              </a:ext>
            </a:extLst>
          </p:cNvPr>
          <p:cNvSpPr/>
          <p:nvPr/>
        </p:nvSpPr>
        <p:spPr bwMode="auto">
          <a:xfrm rot="16200000">
            <a:off x="-1574008" y="3323472"/>
            <a:ext cx="4387107" cy="570226"/>
          </a:xfrm>
          <a:prstGeom prst="roundRect">
            <a:avLst>
              <a:gd name="adj" fmla="val 27360"/>
            </a:avLst>
          </a:prstGeom>
          <a:noFill/>
          <a:ln>
            <a:solidFill>
              <a:srgbClr val="C00000"/>
            </a:solidFill>
          </a:ln>
          <a:effectLst>
            <a:outerShdw blurRad="63500" sx="101000" sy="101000" algn="ctr" rotWithShape="0">
              <a:schemeClr val="accent6">
                <a:lumMod val="50000"/>
                <a:alpha val="4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fontAlgn="base">
              <a:lnSpc>
                <a:spcPct val="90000"/>
              </a:lnSpc>
              <a:defRPr/>
            </a:pPr>
            <a:r>
              <a:rPr lang="it-IT" b="1" cap="all">
                <a:solidFill>
                  <a:srgbClr val="C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TORI DI RISCHIO</a:t>
            </a:r>
          </a:p>
        </p:txBody>
      </p:sp>
      <p:sp>
        <p:nvSpPr>
          <p:cNvPr id="22" name="Oval 15">
            <a:extLst>
              <a:ext uri="{FF2B5EF4-FFF2-40B4-BE49-F238E27FC236}">
                <a16:creationId xmlns:a16="http://schemas.microsoft.com/office/drawing/2014/main" id="{BF82648E-894D-FF63-B935-6B4B0C82E732}"/>
              </a:ext>
            </a:extLst>
          </p:cNvPr>
          <p:cNvSpPr>
            <a:spLocks noChangeAspect="1"/>
          </p:cNvSpPr>
          <p:nvPr/>
        </p:nvSpPr>
        <p:spPr>
          <a:xfrm>
            <a:off x="396452" y="945534"/>
            <a:ext cx="446186" cy="360000"/>
          </a:xfrm>
          <a:prstGeom prst="ellipse">
            <a:avLst/>
          </a:prstGeom>
          <a:solidFill>
            <a:srgbClr val="C0000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3051395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AF83BC-A723-FAB5-E52E-A803E9476F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ttangolo con angoli in alto arrotondati 22">
            <a:extLst>
              <a:ext uri="{FF2B5EF4-FFF2-40B4-BE49-F238E27FC236}">
                <a16:creationId xmlns:a16="http://schemas.microsoft.com/office/drawing/2014/main" id="{37AF6853-84C5-879A-20AA-1A11D7C79A4B}"/>
              </a:ext>
            </a:extLst>
          </p:cNvPr>
          <p:cNvSpPr/>
          <p:nvPr/>
        </p:nvSpPr>
        <p:spPr bwMode="auto">
          <a:xfrm>
            <a:off x="1261941" y="1645608"/>
            <a:ext cx="3673475" cy="2764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600" b="1" u="none" strike="noStrike" cap="none" normalizeH="0" baseline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ＭＳ Ｐゴシック" charset="-128"/>
              </a:rPr>
              <a:t>Tipologia/caratteristiche del beneficiario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D882876C-8519-9B8F-FAAE-595254AB9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BD38681-6092-8ED8-E30C-2CA723B59BDC}"/>
              </a:ext>
            </a:extLst>
          </p:cNvPr>
          <p:cNvSpPr txBox="1">
            <a:spLocks/>
          </p:cNvSpPr>
          <p:nvPr/>
        </p:nvSpPr>
        <p:spPr>
          <a:xfrm>
            <a:off x="462903" y="393797"/>
            <a:ext cx="10195200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kern="0" cap="small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rincipali fattori di rischio utilizzati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Sottotitolo 2">
            <a:extLst>
              <a:ext uri="{FF2B5EF4-FFF2-40B4-BE49-F238E27FC236}">
                <a16:creationId xmlns:a16="http://schemas.microsoft.com/office/drawing/2014/main" id="{CE39E180-8C35-DE6A-6485-ECD018707C80}"/>
              </a:ext>
            </a:extLst>
          </p:cNvPr>
          <p:cNvSpPr txBox="1">
            <a:spLocks/>
          </p:cNvSpPr>
          <p:nvPr/>
        </p:nvSpPr>
        <p:spPr>
          <a:xfrm>
            <a:off x="9403399" y="6213668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C613454E-69AF-3CD4-1B9F-88CDD9C261E7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8" name="Pentagon 47">
            <a:extLst>
              <a:ext uri="{FF2B5EF4-FFF2-40B4-BE49-F238E27FC236}">
                <a16:creationId xmlns:a16="http://schemas.microsoft.com/office/drawing/2014/main" id="{CD2D1EF0-7687-E858-B91C-1B32D2E7FC17}"/>
              </a:ext>
            </a:extLst>
          </p:cNvPr>
          <p:cNvSpPr/>
          <p:nvPr/>
        </p:nvSpPr>
        <p:spPr bwMode="auto">
          <a:xfrm>
            <a:off x="5114752" y="2483676"/>
            <a:ext cx="684000" cy="68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800" b="1" ker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0" name="Pentagon 19 - 1">
            <a:extLst>
              <a:ext uri="{FF2B5EF4-FFF2-40B4-BE49-F238E27FC236}">
                <a16:creationId xmlns:a16="http://schemas.microsoft.com/office/drawing/2014/main" id="{B1499960-BEAF-F710-BC21-54BABD7D4BFE}"/>
              </a:ext>
            </a:extLst>
          </p:cNvPr>
          <p:cNvSpPr/>
          <p:nvPr/>
        </p:nvSpPr>
        <p:spPr bwMode="auto">
          <a:xfrm>
            <a:off x="5114752" y="1613032"/>
            <a:ext cx="684000" cy="68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8" name="Rectangle 30">
            <a:extLst>
              <a:ext uri="{FF2B5EF4-FFF2-40B4-BE49-F238E27FC236}">
                <a16:creationId xmlns:a16="http://schemas.microsoft.com/office/drawing/2014/main" id="{B9F0EE8C-520B-DD17-6F1D-88D00953BBE4}"/>
              </a:ext>
            </a:extLst>
          </p:cNvPr>
          <p:cNvSpPr/>
          <p:nvPr/>
        </p:nvSpPr>
        <p:spPr bwMode="auto">
          <a:xfrm>
            <a:off x="388246" y="1941519"/>
            <a:ext cx="4547170" cy="55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marL="0" marR="0" lvl="0" indent="0" algn="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considera ad esempio l’esperienza pregressa, la natura giuridica.</a:t>
            </a:r>
            <a:endParaRPr kumimoji="0" lang="it-IT" sz="1400" b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Connector 4">
            <a:extLst>
              <a:ext uri="{FF2B5EF4-FFF2-40B4-BE49-F238E27FC236}">
                <a16:creationId xmlns:a16="http://schemas.microsoft.com/office/drawing/2014/main" id="{E262990B-E311-1D19-6E1F-F9EE8732AE9C}"/>
              </a:ext>
            </a:extLst>
          </p:cNvPr>
          <p:cNvCxnSpPr/>
          <p:nvPr/>
        </p:nvCxnSpPr>
        <p:spPr>
          <a:xfrm>
            <a:off x="6090612" y="1931664"/>
            <a:ext cx="0" cy="3664124"/>
          </a:xfrm>
          <a:prstGeom prst="line">
            <a:avLst/>
          </a:prstGeom>
          <a:ln>
            <a:solidFill>
              <a:srgbClr val="BFBFBF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Clic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53D8EE0-56D7-552D-8E99-739B44EA6B4A}"/>
              </a:ext>
            </a:extLst>
          </p:cNvPr>
          <p:cNvGrpSpPr>
            <a:grpSpLocks noChangeAspect="1"/>
          </p:cNvGrpSpPr>
          <p:nvPr/>
        </p:nvGrpSpPr>
        <p:grpSpPr>
          <a:xfrm>
            <a:off x="6426510" y="2833745"/>
            <a:ext cx="602760" cy="692727"/>
            <a:chOff x="7269163" y="803276"/>
            <a:chExt cx="212725" cy="244475"/>
          </a:xfrm>
          <a:solidFill>
            <a:srgbClr val="FFFFFF"/>
          </a:solidFill>
        </p:grpSpPr>
        <p:sp>
          <p:nvSpPr>
            <p:cNvPr id="75" name="Freeform 2739">
              <a:extLst>
                <a:ext uri="{FF2B5EF4-FFF2-40B4-BE49-F238E27FC236}">
                  <a16:creationId xmlns:a16="http://schemas.microsoft.com/office/drawing/2014/main" id="{554BADFC-A554-7651-8C66-E73A7C92D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9163" y="803276"/>
              <a:ext cx="192088" cy="192088"/>
            </a:xfrm>
            <a:custGeom>
              <a:avLst/>
              <a:gdLst>
                <a:gd name="T0" fmla="*/ 2642 w 5284"/>
                <a:gd name="T1" fmla="*/ 5284 h 5284"/>
                <a:gd name="T2" fmla="*/ 0 w 5284"/>
                <a:gd name="T3" fmla="*/ 2642 h 5284"/>
                <a:gd name="T4" fmla="*/ 2642 w 5284"/>
                <a:gd name="T5" fmla="*/ 0 h 5284"/>
                <a:gd name="T6" fmla="*/ 5284 w 5284"/>
                <a:gd name="T7" fmla="*/ 2642 h 5284"/>
                <a:gd name="T8" fmla="*/ 5048 w 5284"/>
                <a:gd name="T9" fmla="*/ 3738 h 5284"/>
                <a:gd name="T10" fmla="*/ 5006 w 5284"/>
                <a:gd name="T11" fmla="*/ 3829 h 5284"/>
                <a:gd name="T12" fmla="*/ 4824 w 5284"/>
                <a:gd name="T13" fmla="*/ 3746 h 5284"/>
                <a:gd name="T14" fmla="*/ 4866 w 5284"/>
                <a:gd name="T15" fmla="*/ 3654 h 5284"/>
                <a:gd name="T16" fmla="*/ 5084 w 5284"/>
                <a:gd name="T17" fmla="*/ 2642 h 5284"/>
                <a:gd name="T18" fmla="*/ 2642 w 5284"/>
                <a:gd name="T19" fmla="*/ 200 h 5284"/>
                <a:gd name="T20" fmla="*/ 200 w 5284"/>
                <a:gd name="T21" fmla="*/ 2642 h 5284"/>
                <a:gd name="T22" fmla="*/ 2642 w 5284"/>
                <a:gd name="T23" fmla="*/ 5084 h 5284"/>
                <a:gd name="T24" fmla="*/ 3005 w 5284"/>
                <a:gd name="T25" fmla="*/ 5057 h 5284"/>
                <a:gd name="T26" fmla="*/ 3104 w 5284"/>
                <a:gd name="T27" fmla="*/ 5043 h 5284"/>
                <a:gd name="T28" fmla="*/ 3132 w 5284"/>
                <a:gd name="T29" fmla="*/ 5241 h 5284"/>
                <a:gd name="T30" fmla="*/ 3033 w 5284"/>
                <a:gd name="T31" fmla="*/ 5255 h 5284"/>
                <a:gd name="T32" fmla="*/ 2642 w 5284"/>
                <a:gd name="T33" fmla="*/ 5284 h 5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84" h="5284">
                  <a:moveTo>
                    <a:pt x="2642" y="5284"/>
                  </a:moveTo>
                  <a:cubicBezTo>
                    <a:pt x="1186" y="5284"/>
                    <a:pt x="0" y="4099"/>
                    <a:pt x="0" y="2642"/>
                  </a:cubicBezTo>
                  <a:cubicBezTo>
                    <a:pt x="0" y="1186"/>
                    <a:pt x="1186" y="0"/>
                    <a:pt x="2642" y="0"/>
                  </a:cubicBezTo>
                  <a:cubicBezTo>
                    <a:pt x="4100" y="0"/>
                    <a:pt x="5284" y="1186"/>
                    <a:pt x="5284" y="2642"/>
                  </a:cubicBezTo>
                  <a:cubicBezTo>
                    <a:pt x="5284" y="3025"/>
                    <a:pt x="5205" y="3393"/>
                    <a:pt x="5048" y="3738"/>
                  </a:cubicBezTo>
                  <a:lnTo>
                    <a:pt x="5006" y="3829"/>
                  </a:lnTo>
                  <a:lnTo>
                    <a:pt x="4824" y="3746"/>
                  </a:lnTo>
                  <a:lnTo>
                    <a:pt x="4866" y="3654"/>
                  </a:lnTo>
                  <a:cubicBezTo>
                    <a:pt x="5011" y="3336"/>
                    <a:pt x="5084" y="2995"/>
                    <a:pt x="5084" y="2642"/>
                  </a:cubicBezTo>
                  <a:cubicBezTo>
                    <a:pt x="5084" y="1296"/>
                    <a:pt x="3989" y="200"/>
                    <a:pt x="2642" y="200"/>
                  </a:cubicBezTo>
                  <a:cubicBezTo>
                    <a:pt x="1296" y="200"/>
                    <a:pt x="200" y="1296"/>
                    <a:pt x="200" y="2642"/>
                  </a:cubicBezTo>
                  <a:cubicBezTo>
                    <a:pt x="200" y="3989"/>
                    <a:pt x="1296" y="5084"/>
                    <a:pt x="2642" y="5084"/>
                  </a:cubicBezTo>
                  <a:cubicBezTo>
                    <a:pt x="2764" y="5084"/>
                    <a:pt x="2885" y="5076"/>
                    <a:pt x="3005" y="5057"/>
                  </a:cubicBezTo>
                  <a:lnTo>
                    <a:pt x="3104" y="5043"/>
                  </a:lnTo>
                  <a:lnTo>
                    <a:pt x="3132" y="5241"/>
                  </a:lnTo>
                  <a:lnTo>
                    <a:pt x="3033" y="5255"/>
                  </a:lnTo>
                  <a:cubicBezTo>
                    <a:pt x="2906" y="5275"/>
                    <a:pt x="2774" y="5284"/>
                    <a:pt x="2642" y="52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2740">
              <a:extLst>
                <a:ext uri="{FF2B5EF4-FFF2-40B4-BE49-F238E27FC236}">
                  <a16:creationId xmlns:a16="http://schemas.microsoft.com/office/drawing/2014/main" id="{8B0F889A-4B0B-1823-9DD6-B055EBD29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2025" y="844551"/>
              <a:ext cx="107950" cy="109538"/>
            </a:xfrm>
            <a:custGeom>
              <a:avLst/>
              <a:gdLst>
                <a:gd name="T0" fmla="*/ 1489 w 2977"/>
                <a:gd name="T1" fmla="*/ 2978 h 2978"/>
                <a:gd name="T2" fmla="*/ 0 w 2977"/>
                <a:gd name="T3" fmla="*/ 1489 h 2978"/>
                <a:gd name="T4" fmla="*/ 1489 w 2977"/>
                <a:gd name="T5" fmla="*/ 0 h 2978"/>
                <a:gd name="T6" fmla="*/ 2977 w 2977"/>
                <a:gd name="T7" fmla="*/ 1489 h 2978"/>
                <a:gd name="T8" fmla="*/ 2848 w 2977"/>
                <a:gd name="T9" fmla="*/ 2097 h 2978"/>
                <a:gd name="T10" fmla="*/ 2806 w 2977"/>
                <a:gd name="T11" fmla="*/ 2188 h 2978"/>
                <a:gd name="T12" fmla="*/ 2624 w 2977"/>
                <a:gd name="T13" fmla="*/ 2106 h 2978"/>
                <a:gd name="T14" fmla="*/ 2665 w 2977"/>
                <a:gd name="T15" fmla="*/ 2015 h 2978"/>
                <a:gd name="T16" fmla="*/ 2777 w 2977"/>
                <a:gd name="T17" fmla="*/ 1489 h 2978"/>
                <a:gd name="T18" fmla="*/ 1489 w 2977"/>
                <a:gd name="T19" fmla="*/ 200 h 2978"/>
                <a:gd name="T20" fmla="*/ 200 w 2977"/>
                <a:gd name="T21" fmla="*/ 1489 h 2978"/>
                <a:gd name="T22" fmla="*/ 1489 w 2977"/>
                <a:gd name="T23" fmla="*/ 2777 h 2978"/>
                <a:gd name="T24" fmla="*/ 1625 w 2977"/>
                <a:gd name="T25" fmla="*/ 2770 h 2978"/>
                <a:gd name="T26" fmla="*/ 1724 w 2977"/>
                <a:gd name="T27" fmla="*/ 2760 h 2978"/>
                <a:gd name="T28" fmla="*/ 1745 w 2977"/>
                <a:gd name="T29" fmla="*/ 2959 h 2978"/>
                <a:gd name="T30" fmla="*/ 1645 w 2977"/>
                <a:gd name="T31" fmla="*/ 2969 h 2978"/>
                <a:gd name="T32" fmla="*/ 1489 w 2977"/>
                <a:gd name="T33" fmla="*/ 2978 h 29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77" h="2978">
                  <a:moveTo>
                    <a:pt x="1489" y="2978"/>
                  </a:moveTo>
                  <a:cubicBezTo>
                    <a:pt x="668" y="2978"/>
                    <a:pt x="0" y="2310"/>
                    <a:pt x="0" y="1489"/>
                  </a:cubicBezTo>
                  <a:cubicBezTo>
                    <a:pt x="0" y="668"/>
                    <a:pt x="668" y="0"/>
                    <a:pt x="1489" y="0"/>
                  </a:cubicBezTo>
                  <a:cubicBezTo>
                    <a:pt x="2309" y="0"/>
                    <a:pt x="2977" y="668"/>
                    <a:pt x="2977" y="1489"/>
                  </a:cubicBezTo>
                  <a:cubicBezTo>
                    <a:pt x="2977" y="1701"/>
                    <a:pt x="2933" y="1905"/>
                    <a:pt x="2848" y="2097"/>
                  </a:cubicBezTo>
                  <a:lnTo>
                    <a:pt x="2806" y="2188"/>
                  </a:lnTo>
                  <a:lnTo>
                    <a:pt x="2624" y="2106"/>
                  </a:lnTo>
                  <a:lnTo>
                    <a:pt x="2665" y="2015"/>
                  </a:lnTo>
                  <a:cubicBezTo>
                    <a:pt x="2739" y="1849"/>
                    <a:pt x="2777" y="1673"/>
                    <a:pt x="2777" y="1489"/>
                  </a:cubicBezTo>
                  <a:cubicBezTo>
                    <a:pt x="2777" y="779"/>
                    <a:pt x="2199" y="200"/>
                    <a:pt x="1489" y="200"/>
                  </a:cubicBezTo>
                  <a:cubicBezTo>
                    <a:pt x="778" y="200"/>
                    <a:pt x="200" y="779"/>
                    <a:pt x="200" y="1489"/>
                  </a:cubicBezTo>
                  <a:cubicBezTo>
                    <a:pt x="200" y="2199"/>
                    <a:pt x="778" y="2777"/>
                    <a:pt x="1489" y="2777"/>
                  </a:cubicBezTo>
                  <a:cubicBezTo>
                    <a:pt x="1533" y="2777"/>
                    <a:pt x="1580" y="2775"/>
                    <a:pt x="1625" y="2770"/>
                  </a:cubicBezTo>
                  <a:lnTo>
                    <a:pt x="1724" y="2760"/>
                  </a:lnTo>
                  <a:lnTo>
                    <a:pt x="1745" y="2959"/>
                  </a:lnTo>
                  <a:lnTo>
                    <a:pt x="1645" y="2969"/>
                  </a:lnTo>
                  <a:cubicBezTo>
                    <a:pt x="1593" y="2975"/>
                    <a:pt x="1541" y="2978"/>
                    <a:pt x="1489" y="297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2741">
              <a:extLst>
                <a:ext uri="{FF2B5EF4-FFF2-40B4-BE49-F238E27FC236}">
                  <a16:creationId xmlns:a16="http://schemas.microsoft.com/office/drawing/2014/main" id="{9304D7DD-D150-2843-24EB-3471A6CE9C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2188" y="876301"/>
              <a:ext cx="46038" cy="46038"/>
            </a:xfrm>
            <a:custGeom>
              <a:avLst/>
              <a:gdLst>
                <a:gd name="T0" fmla="*/ 633 w 1267"/>
                <a:gd name="T1" fmla="*/ 199 h 1267"/>
                <a:gd name="T2" fmla="*/ 200 w 1267"/>
                <a:gd name="T3" fmla="*/ 634 h 1267"/>
                <a:gd name="T4" fmla="*/ 633 w 1267"/>
                <a:gd name="T5" fmla="*/ 1067 h 1267"/>
                <a:gd name="T6" fmla="*/ 1068 w 1267"/>
                <a:gd name="T7" fmla="*/ 634 h 1267"/>
                <a:gd name="T8" fmla="*/ 633 w 1267"/>
                <a:gd name="T9" fmla="*/ 199 h 1267"/>
                <a:gd name="T10" fmla="*/ 633 w 1267"/>
                <a:gd name="T11" fmla="*/ 1267 h 1267"/>
                <a:gd name="T12" fmla="*/ 0 w 1267"/>
                <a:gd name="T13" fmla="*/ 634 h 1267"/>
                <a:gd name="T14" fmla="*/ 633 w 1267"/>
                <a:gd name="T15" fmla="*/ 0 h 1267"/>
                <a:gd name="T16" fmla="*/ 1267 w 1267"/>
                <a:gd name="T17" fmla="*/ 634 h 1267"/>
                <a:gd name="T18" fmla="*/ 633 w 1267"/>
                <a:gd name="T19" fmla="*/ 1267 h 1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7" h="1267">
                  <a:moveTo>
                    <a:pt x="633" y="199"/>
                  </a:moveTo>
                  <a:cubicBezTo>
                    <a:pt x="394" y="199"/>
                    <a:pt x="200" y="394"/>
                    <a:pt x="200" y="634"/>
                  </a:cubicBezTo>
                  <a:cubicBezTo>
                    <a:pt x="200" y="873"/>
                    <a:pt x="394" y="1067"/>
                    <a:pt x="633" y="1067"/>
                  </a:cubicBezTo>
                  <a:cubicBezTo>
                    <a:pt x="873" y="1067"/>
                    <a:pt x="1068" y="873"/>
                    <a:pt x="1068" y="634"/>
                  </a:cubicBezTo>
                  <a:cubicBezTo>
                    <a:pt x="1068" y="394"/>
                    <a:pt x="873" y="199"/>
                    <a:pt x="633" y="199"/>
                  </a:cubicBezTo>
                  <a:close/>
                  <a:moveTo>
                    <a:pt x="633" y="1267"/>
                  </a:moveTo>
                  <a:cubicBezTo>
                    <a:pt x="284" y="1267"/>
                    <a:pt x="0" y="983"/>
                    <a:pt x="0" y="634"/>
                  </a:cubicBezTo>
                  <a:cubicBezTo>
                    <a:pt x="0" y="284"/>
                    <a:pt x="284" y="0"/>
                    <a:pt x="633" y="0"/>
                  </a:cubicBezTo>
                  <a:cubicBezTo>
                    <a:pt x="983" y="0"/>
                    <a:pt x="1267" y="284"/>
                    <a:pt x="1267" y="634"/>
                  </a:cubicBezTo>
                  <a:cubicBezTo>
                    <a:pt x="1267" y="983"/>
                    <a:pt x="983" y="1267"/>
                    <a:pt x="633" y="12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2743">
              <a:extLst>
                <a:ext uri="{FF2B5EF4-FFF2-40B4-BE49-F238E27FC236}">
                  <a16:creationId xmlns:a16="http://schemas.microsoft.com/office/drawing/2014/main" id="{45B451CD-BB11-3B84-B2F8-216F4F736B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0" y="993776"/>
              <a:ext cx="52388" cy="53975"/>
            </a:xfrm>
            <a:custGeom>
              <a:avLst/>
              <a:gdLst>
                <a:gd name="T0" fmla="*/ 18 w 33"/>
                <a:gd name="T1" fmla="*/ 34 h 34"/>
                <a:gd name="T2" fmla="*/ 15 w 33"/>
                <a:gd name="T3" fmla="*/ 34 h 34"/>
                <a:gd name="T4" fmla="*/ 0 w 33"/>
                <a:gd name="T5" fmla="*/ 13 h 34"/>
                <a:gd name="T6" fmla="*/ 4 w 33"/>
                <a:gd name="T7" fmla="*/ 10 h 34"/>
                <a:gd name="T8" fmla="*/ 18 w 33"/>
                <a:gd name="T9" fmla="*/ 29 h 34"/>
                <a:gd name="T10" fmla="*/ 28 w 33"/>
                <a:gd name="T11" fmla="*/ 23 h 34"/>
                <a:gd name="T12" fmla="*/ 14 w 33"/>
                <a:gd name="T13" fmla="*/ 3 h 34"/>
                <a:gd name="T14" fmla="*/ 18 w 33"/>
                <a:gd name="T15" fmla="*/ 0 h 34"/>
                <a:gd name="T16" fmla="*/ 33 w 33"/>
                <a:gd name="T17" fmla="*/ 22 h 34"/>
                <a:gd name="T18" fmla="*/ 33 w 33"/>
                <a:gd name="T19" fmla="*/ 25 h 34"/>
                <a:gd name="T20" fmla="*/ 18 w 33"/>
                <a:gd name="T2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4">
                  <a:moveTo>
                    <a:pt x="18" y="34"/>
                  </a:moveTo>
                  <a:lnTo>
                    <a:pt x="15" y="34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18" y="29"/>
                  </a:lnTo>
                  <a:lnTo>
                    <a:pt x="28" y="23"/>
                  </a:lnTo>
                  <a:lnTo>
                    <a:pt x="14" y="3"/>
                  </a:lnTo>
                  <a:lnTo>
                    <a:pt x="18" y="0"/>
                  </a:lnTo>
                  <a:lnTo>
                    <a:pt x="33" y="22"/>
                  </a:lnTo>
                  <a:lnTo>
                    <a:pt x="33" y="25"/>
                  </a:lnTo>
                  <a:lnTo>
                    <a:pt x="18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3" name="Cloud1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8753F18-6789-D054-2050-E57CC0C3037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407744" y="5228435"/>
            <a:ext cx="688051" cy="635000"/>
            <a:chOff x="6891338" y="3103563"/>
            <a:chExt cx="679450" cy="627062"/>
          </a:xfrm>
          <a:solidFill>
            <a:srgbClr val="FFFFFF"/>
          </a:solidFill>
        </p:grpSpPr>
        <p:sp>
          <p:nvSpPr>
            <p:cNvPr id="94" name="Freeform 400">
              <a:extLst>
                <a:ext uri="{FF2B5EF4-FFF2-40B4-BE49-F238E27FC236}">
                  <a16:creationId xmlns:a16="http://schemas.microsoft.com/office/drawing/2014/main" id="{3BB0B7FA-6C9C-F9E3-2CCB-4DD9351D1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1338" y="3103563"/>
              <a:ext cx="679450" cy="457200"/>
            </a:xfrm>
            <a:custGeom>
              <a:avLst/>
              <a:gdLst>
                <a:gd name="T0" fmla="*/ 391 w 497"/>
                <a:gd name="T1" fmla="*/ 334 h 334"/>
                <a:gd name="T2" fmla="*/ 350 w 497"/>
                <a:gd name="T3" fmla="*/ 334 h 334"/>
                <a:gd name="T4" fmla="*/ 342 w 497"/>
                <a:gd name="T5" fmla="*/ 325 h 334"/>
                <a:gd name="T6" fmla="*/ 350 w 497"/>
                <a:gd name="T7" fmla="*/ 317 h 334"/>
                <a:gd name="T8" fmla="*/ 391 w 497"/>
                <a:gd name="T9" fmla="*/ 317 h 334"/>
                <a:gd name="T10" fmla="*/ 480 w 497"/>
                <a:gd name="T11" fmla="*/ 228 h 334"/>
                <a:gd name="T12" fmla="*/ 391 w 497"/>
                <a:gd name="T13" fmla="*/ 139 h 334"/>
                <a:gd name="T14" fmla="*/ 352 w 497"/>
                <a:gd name="T15" fmla="*/ 139 h 334"/>
                <a:gd name="T16" fmla="*/ 352 w 497"/>
                <a:gd name="T17" fmla="*/ 119 h 334"/>
                <a:gd name="T18" fmla="*/ 250 w 497"/>
                <a:gd name="T19" fmla="*/ 17 h 334"/>
                <a:gd name="T20" fmla="*/ 150 w 497"/>
                <a:gd name="T21" fmla="*/ 100 h 334"/>
                <a:gd name="T22" fmla="*/ 149 w 497"/>
                <a:gd name="T23" fmla="*/ 106 h 334"/>
                <a:gd name="T24" fmla="*/ 122 w 497"/>
                <a:gd name="T25" fmla="*/ 106 h 334"/>
                <a:gd name="T26" fmla="*/ 16 w 497"/>
                <a:gd name="T27" fmla="*/ 212 h 334"/>
                <a:gd name="T28" fmla="*/ 112 w 497"/>
                <a:gd name="T29" fmla="*/ 317 h 334"/>
                <a:gd name="T30" fmla="*/ 122 w 497"/>
                <a:gd name="T31" fmla="*/ 317 h 334"/>
                <a:gd name="T32" fmla="*/ 165 w 497"/>
                <a:gd name="T33" fmla="*/ 317 h 334"/>
                <a:gd name="T34" fmla="*/ 174 w 497"/>
                <a:gd name="T35" fmla="*/ 325 h 334"/>
                <a:gd name="T36" fmla="*/ 165 w 497"/>
                <a:gd name="T37" fmla="*/ 334 h 334"/>
                <a:gd name="T38" fmla="*/ 110 w 497"/>
                <a:gd name="T39" fmla="*/ 333 h 334"/>
                <a:gd name="T40" fmla="*/ 0 w 497"/>
                <a:gd name="T41" fmla="*/ 212 h 334"/>
                <a:gd name="T42" fmla="*/ 122 w 497"/>
                <a:gd name="T43" fmla="*/ 90 h 334"/>
                <a:gd name="T44" fmla="*/ 135 w 497"/>
                <a:gd name="T45" fmla="*/ 90 h 334"/>
                <a:gd name="T46" fmla="*/ 250 w 497"/>
                <a:gd name="T47" fmla="*/ 0 h 334"/>
                <a:gd name="T48" fmla="*/ 368 w 497"/>
                <a:gd name="T49" fmla="*/ 119 h 334"/>
                <a:gd name="T50" fmla="*/ 368 w 497"/>
                <a:gd name="T51" fmla="*/ 122 h 334"/>
                <a:gd name="T52" fmla="*/ 391 w 497"/>
                <a:gd name="T53" fmla="*/ 122 h 334"/>
                <a:gd name="T54" fmla="*/ 497 w 497"/>
                <a:gd name="T55" fmla="*/ 228 h 334"/>
                <a:gd name="T56" fmla="*/ 391 w 497"/>
                <a:gd name="T57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7" h="334">
                  <a:moveTo>
                    <a:pt x="391" y="334"/>
                  </a:moveTo>
                  <a:lnTo>
                    <a:pt x="350" y="334"/>
                  </a:lnTo>
                  <a:cubicBezTo>
                    <a:pt x="346" y="334"/>
                    <a:pt x="342" y="330"/>
                    <a:pt x="342" y="325"/>
                  </a:cubicBezTo>
                  <a:cubicBezTo>
                    <a:pt x="342" y="321"/>
                    <a:pt x="346" y="317"/>
                    <a:pt x="350" y="317"/>
                  </a:cubicBezTo>
                  <a:lnTo>
                    <a:pt x="391" y="317"/>
                  </a:lnTo>
                  <a:cubicBezTo>
                    <a:pt x="440" y="317"/>
                    <a:pt x="480" y="277"/>
                    <a:pt x="480" y="228"/>
                  </a:cubicBezTo>
                  <a:cubicBezTo>
                    <a:pt x="480" y="179"/>
                    <a:pt x="440" y="139"/>
                    <a:pt x="391" y="139"/>
                  </a:cubicBezTo>
                  <a:lnTo>
                    <a:pt x="352" y="139"/>
                  </a:lnTo>
                  <a:lnTo>
                    <a:pt x="352" y="119"/>
                  </a:lnTo>
                  <a:cubicBezTo>
                    <a:pt x="352" y="63"/>
                    <a:pt x="306" y="17"/>
                    <a:pt x="250" y="17"/>
                  </a:cubicBezTo>
                  <a:cubicBezTo>
                    <a:pt x="201" y="17"/>
                    <a:pt x="159" y="52"/>
                    <a:pt x="150" y="100"/>
                  </a:cubicBezTo>
                  <a:lnTo>
                    <a:pt x="149" y="106"/>
                  </a:lnTo>
                  <a:lnTo>
                    <a:pt x="122" y="106"/>
                  </a:lnTo>
                  <a:cubicBezTo>
                    <a:pt x="64" y="106"/>
                    <a:pt x="16" y="154"/>
                    <a:pt x="16" y="212"/>
                  </a:cubicBezTo>
                  <a:cubicBezTo>
                    <a:pt x="16" y="266"/>
                    <a:pt x="57" y="311"/>
                    <a:pt x="112" y="317"/>
                  </a:cubicBezTo>
                  <a:lnTo>
                    <a:pt x="122" y="317"/>
                  </a:lnTo>
                  <a:lnTo>
                    <a:pt x="165" y="317"/>
                  </a:lnTo>
                  <a:cubicBezTo>
                    <a:pt x="170" y="317"/>
                    <a:pt x="174" y="321"/>
                    <a:pt x="174" y="325"/>
                  </a:cubicBezTo>
                  <a:cubicBezTo>
                    <a:pt x="174" y="330"/>
                    <a:pt x="170" y="334"/>
                    <a:pt x="165" y="334"/>
                  </a:cubicBezTo>
                  <a:lnTo>
                    <a:pt x="110" y="333"/>
                  </a:lnTo>
                  <a:cubicBezTo>
                    <a:pt x="47" y="327"/>
                    <a:pt x="0" y="275"/>
                    <a:pt x="0" y="212"/>
                  </a:cubicBezTo>
                  <a:cubicBezTo>
                    <a:pt x="0" y="144"/>
                    <a:pt x="54" y="90"/>
                    <a:pt x="122" y="90"/>
                  </a:cubicBezTo>
                  <a:lnTo>
                    <a:pt x="135" y="90"/>
                  </a:lnTo>
                  <a:cubicBezTo>
                    <a:pt x="148" y="37"/>
                    <a:pt x="195" y="0"/>
                    <a:pt x="250" y="0"/>
                  </a:cubicBezTo>
                  <a:cubicBezTo>
                    <a:pt x="315" y="0"/>
                    <a:pt x="368" y="53"/>
                    <a:pt x="368" y="119"/>
                  </a:cubicBezTo>
                  <a:lnTo>
                    <a:pt x="368" y="122"/>
                  </a:lnTo>
                  <a:lnTo>
                    <a:pt x="391" y="122"/>
                  </a:lnTo>
                  <a:cubicBezTo>
                    <a:pt x="449" y="122"/>
                    <a:pt x="497" y="170"/>
                    <a:pt x="497" y="228"/>
                  </a:cubicBezTo>
                  <a:cubicBezTo>
                    <a:pt x="497" y="286"/>
                    <a:pt x="449" y="334"/>
                    <a:pt x="391" y="33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401">
              <a:extLst>
                <a:ext uri="{FF2B5EF4-FFF2-40B4-BE49-F238E27FC236}">
                  <a16:creationId xmlns:a16="http://schemas.microsoft.com/office/drawing/2014/main" id="{10746912-7F64-5920-79F5-8C3A72ACC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1051" y="3408363"/>
              <a:ext cx="142875" cy="90488"/>
            </a:xfrm>
            <a:custGeom>
              <a:avLst/>
              <a:gdLst>
                <a:gd name="T0" fmla="*/ 95 w 104"/>
                <a:gd name="T1" fmla="*/ 66 h 67"/>
                <a:gd name="T2" fmla="*/ 89 w 104"/>
                <a:gd name="T3" fmla="*/ 63 h 67"/>
                <a:gd name="T4" fmla="*/ 52 w 104"/>
                <a:gd name="T5" fmla="*/ 22 h 67"/>
                <a:gd name="T6" fmla="*/ 15 w 104"/>
                <a:gd name="T7" fmla="*/ 63 h 67"/>
                <a:gd name="T8" fmla="*/ 4 w 104"/>
                <a:gd name="T9" fmla="*/ 64 h 67"/>
                <a:gd name="T10" fmla="*/ 3 w 104"/>
                <a:gd name="T11" fmla="*/ 52 h 67"/>
                <a:gd name="T12" fmla="*/ 46 w 104"/>
                <a:gd name="T13" fmla="*/ 4 h 67"/>
                <a:gd name="T14" fmla="*/ 58 w 104"/>
                <a:gd name="T15" fmla="*/ 4 h 67"/>
                <a:gd name="T16" fmla="*/ 101 w 104"/>
                <a:gd name="T17" fmla="*/ 52 h 67"/>
                <a:gd name="T18" fmla="*/ 101 w 104"/>
                <a:gd name="T19" fmla="*/ 64 h 67"/>
                <a:gd name="T20" fmla="*/ 95 w 104"/>
                <a:gd name="T21" fmla="*/ 6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67">
                  <a:moveTo>
                    <a:pt x="95" y="66"/>
                  </a:moveTo>
                  <a:cubicBezTo>
                    <a:pt x="93" y="66"/>
                    <a:pt x="90" y="65"/>
                    <a:pt x="89" y="63"/>
                  </a:cubicBezTo>
                  <a:lnTo>
                    <a:pt x="52" y="22"/>
                  </a:lnTo>
                  <a:lnTo>
                    <a:pt x="15" y="63"/>
                  </a:lnTo>
                  <a:cubicBezTo>
                    <a:pt x="12" y="67"/>
                    <a:pt x="7" y="67"/>
                    <a:pt x="4" y="64"/>
                  </a:cubicBezTo>
                  <a:cubicBezTo>
                    <a:pt x="0" y="61"/>
                    <a:pt x="0" y="55"/>
                    <a:pt x="3" y="52"/>
                  </a:cubicBezTo>
                  <a:lnTo>
                    <a:pt x="46" y="4"/>
                  </a:lnTo>
                  <a:cubicBezTo>
                    <a:pt x="49" y="0"/>
                    <a:pt x="55" y="0"/>
                    <a:pt x="58" y="4"/>
                  </a:cubicBezTo>
                  <a:lnTo>
                    <a:pt x="101" y="52"/>
                  </a:lnTo>
                  <a:cubicBezTo>
                    <a:pt x="104" y="55"/>
                    <a:pt x="104" y="61"/>
                    <a:pt x="101" y="64"/>
                  </a:cubicBezTo>
                  <a:cubicBezTo>
                    <a:pt x="99" y="65"/>
                    <a:pt x="97" y="66"/>
                    <a:pt x="95" y="6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402">
              <a:extLst>
                <a:ext uri="{FF2B5EF4-FFF2-40B4-BE49-F238E27FC236}">
                  <a16:creationId xmlns:a16="http://schemas.microsoft.com/office/drawing/2014/main" id="{A698BEE6-B1DE-D1EA-5FD3-61FC6CBCA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4076" y="3641725"/>
              <a:ext cx="142875" cy="88900"/>
            </a:xfrm>
            <a:custGeom>
              <a:avLst/>
              <a:gdLst>
                <a:gd name="T0" fmla="*/ 52 w 104"/>
                <a:gd name="T1" fmla="*/ 65 h 65"/>
                <a:gd name="T2" fmla="*/ 46 w 104"/>
                <a:gd name="T3" fmla="*/ 63 h 65"/>
                <a:gd name="T4" fmla="*/ 3 w 104"/>
                <a:gd name="T5" fmla="*/ 14 h 65"/>
                <a:gd name="T6" fmla="*/ 4 w 104"/>
                <a:gd name="T7" fmla="*/ 3 h 65"/>
                <a:gd name="T8" fmla="*/ 15 w 104"/>
                <a:gd name="T9" fmla="*/ 3 h 65"/>
                <a:gd name="T10" fmla="*/ 52 w 104"/>
                <a:gd name="T11" fmla="*/ 45 h 65"/>
                <a:gd name="T12" fmla="*/ 89 w 104"/>
                <a:gd name="T13" fmla="*/ 3 h 65"/>
                <a:gd name="T14" fmla="*/ 101 w 104"/>
                <a:gd name="T15" fmla="*/ 3 h 65"/>
                <a:gd name="T16" fmla="*/ 101 w 104"/>
                <a:gd name="T17" fmla="*/ 14 h 65"/>
                <a:gd name="T18" fmla="*/ 58 w 104"/>
                <a:gd name="T19" fmla="*/ 63 h 65"/>
                <a:gd name="T20" fmla="*/ 52 w 104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65">
                  <a:moveTo>
                    <a:pt x="52" y="65"/>
                  </a:moveTo>
                  <a:cubicBezTo>
                    <a:pt x="50" y="65"/>
                    <a:pt x="48" y="64"/>
                    <a:pt x="46" y="63"/>
                  </a:cubicBezTo>
                  <a:lnTo>
                    <a:pt x="3" y="14"/>
                  </a:lnTo>
                  <a:cubicBezTo>
                    <a:pt x="0" y="11"/>
                    <a:pt x="0" y="6"/>
                    <a:pt x="4" y="3"/>
                  </a:cubicBezTo>
                  <a:cubicBezTo>
                    <a:pt x="7" y="0"/>
                    <a:pt x="12" y="0"/>
                    <a:pt x="15" y="3"/>
                  </a:cubicBezTo>
                  <a:lnTo>
                    <a:pt x="52" y="45"/>
                  </a:lnTo>
                  <a:lnTo>
                    <a:pt x="89" y="3"/>
                  </a:lnTo>
                  <a:cubicBezTo>
                    <a:pt x="92" y="0"/>
                    <a:pt x="97" y="0"/>
                    <a:pt x="101" y="3"/>
                  </a:cubicBezTo>
                  <a:cubicBezTo>
                    <a:pt x="104" y="6"/>
                    <a:pt x="104" y="11"/>
                    <a:pt x="101" y="14"/>
                  </a:cubicBezTo>
                  <a:lnTo>
                    <a:pt x="58" y="63"/>
                  </a:lnTo>
                  <a:cubicBezTo>
                    <a:pt x="57" y="64"/>
                    <a:pt x="55" y="65"/>
                    <a:pt x="52" y="6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403">
              <a:extLst>
                <a:ext uri="{FF2B5EF4-FFF2-40B4-BE49-F238E27FC236}">
                  <a16:creationId xmlns:a16="http://schemas.microsoft.com/office/drawing/2014/main" id="{4D3A77E8-0524-B43E-F5B5-A89B4C3E9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776" y="3290888"/>
              <a:ext cx="74613" cy="74613"/>
            </a:xfrm>
            <a:custGeom>
              <a:avLst/>
              <a:gdLst>
                <a:gd name="T0" fmla="*/ 8 w 54"/>
                <a:gd name="T1" fmla="*/ 54 h 54"/>
                <a:gd name="T2" fmla="*/ 0 w 54"/>
                <a:gd name="T3" fmla="*/ 46 h 54"/>
                <a:gd name="T4" fmla="*/ 46 w 54"/>
                <a:gd name="T5" fmla="*/ 0 h 54"/>
                <a:gd name="T6" fmla="*/ 54 w 54"/>
                <a:gd name="T7" fmla="*/ 8 h 54"/>
                <a:gd name="T8" fmla="*/ 46 w 54"/>
                <a:gd name="T9" fmla="*/ 16 h 54"/>
                <a:gd name="T10" fmla="*/ 16 w 54"/>
                <a:gd name="T11" fmla="*/ 46 h 54"/>
                <a:gd name="T12" fmla="*/ 8 w 54"/>
                <a:gd name="T1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54">
                  <a:moveTo>
                    <a:pt x="8" y="54"/>
                  </a:moveTo>
                  <a:cubicBezTo>
                    <a:pt x="3" y="54"/>
                    <a:pt x="0" y="51"/>
                    <a:pt x="0" y="46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51" y="0"/>
                    <a:pt x="54" y="3"/>
                    <a:pt x="54" y="8"/>
                  </a:cubicBezTo>
                  <a:cubicBezTo>
                    <a:pt x="54" y="13"/>
                    <a:pt x="51" y="16"/>
                    <a:pt x="46" y="16"/>
                  </a:cubicBezTo>
                  <a:cubicBezTo>
                    <a:pt x="30" y="16"/>
                    <a:pt x="16" y="30"/>
                    <a:pt x="16" y="46"/>
                  </a:cubicBezTo>
                  <a:cubicBezTo>
                    <a:pt x="16" y="51"/>
                    <a:pt x="13" y="54"/>
                    <a:pt x="8" y="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404">
              <a:extLst>
                <a:ext uri="{FF2B5EF4-FFF2-40B4-BE49-F238E27FC236}">
                  <a16:creationId xmlns:a16="http://schemas.microsoft.com/office/drawing/2014/main" id="{DDB307B9-1D06-0E87-D614-848E1DE9B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1376" y="3427413"/>
              <a:ext cx="22225" cy="169863"/>
            </a:xfrm>
            <a:custGeom>
              <a:avLst/>
              <a:gdLst>
                <a:gd name="T0" fmla="*/ 8 w 16"/>
                <a:gd name="T1" fmla="*/ 124 h 124"/>
                <a:gd name="T2" fmla="*/ 0 w 16"/>
                <a:gd name="T3" fmla="*/ 116 h 124"/>
                <a:gd name="T4" fmla="*/ 0 w 16"/>
                <a:gd name="T5" fmla="*/ 8 h 124"/>
                <a:gd name="T6" fmla="*/ 8 w 16"/>
                <a:gd name="T7" fmla="*/ 0 h 124"/>
                <a:gd name="T8" fmla="*/ 16 w 16"/>
                <a:gd name="T9" fmla="*/ 8 h 124"/>
                <a:gd name="T10" fmla="*/ 16 w 16"/>
                <a:gd name="T11" fmla="*/ 116 h 124"/>
                <a:gd name="T12" fmla="*/ 8 w 16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24">
                  <a:moveTo>
                    <a:pt x="8" y="124"/>
                  </a:moveTo>
                  <a:cubicBezTo>
                    <a:pt x="3" y="124"/>
                    <a:pt x="0" y="121"/>
                    <a:pt x="0" y="116"/>
                  </a:cubicBezTo>
                  <a:lnTo>
                    <a:pt x="0" y="8"/>
                  </a:lnTo>
                  <a:cubicBezTo>
                    <a:pt x="0" y="4"/>
                    <a:pt x="3" y="0"/>
                    <a:pt x="8" y="0"/>
                  </a:cubicBezTo>
                  <a:cubicBezTo>
                    <a:pt x="13" y="0"/>
                    <a:pt x="16" y="4"/>
                    <a:pt x="16" y="8"/>
                  </a:cubicBezTo>
                  <a:lnTo>
                    <a:pt x="16" y="116"/>
                  </a:lnTo>
                  <a:cubicBezTo>
                    <a:pt x="16" y="121"/>
                    <a:pt x="13" y="124"/>
                    <a:pt x="8" y="12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405">
              <a:extLst>
                <a:ext uri="{FF2B5EF4-FFF2-40B4-BE49-F238E27FC236}">
                  <a16:creationId xmlns:a16="http://schemas.microsoft.com/office/drawing/2014/main" id="{8872EAFE-2AD1-AAE5-D5BD-47B817154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4401" y="3549650"/>
              <a:ext cx="23813" cy="171450"/>
            </a:xfrm>
            <a:custGeom>
              <a:avLst/>
              <a:gdLst>
                <a:gd name="T0" fmla="*/ 9 w 17"/>
                <a:gd name="T1" fmla="*/ 125 h 125"/>
                <a:gd name="T2" fmla="*/ 0 w 17"/>
                <a:gd name="T3" fmla="*/ 117 h 125"/>
                <a:gd name="T4" fmla="*/ 0 w 17"/>
                <a:gd name="T5" fmla="*/ 9 h 125"/>
                <a:gd name="T6" fmla="*/ 9 w 17"/>
                <a:gd name="T7" fmla="*/ 0 h 125"/>
                <a:gd name="T8" fmla="*/ 17 w 17"/>
                <a:gd name="T9" fmla="*/ 9 h 125"/>
                <a:gd name="T10" fmla="*/ 17 w 17"/>
                <a:gd name="T11" fmla="*/ 117 h 125"/>
                <a:gd name="T12" fmla="*/ 9 w 17"/>
                <a:gd name="T1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25">
                  <a:moveTo>
                    <a:pt x="9" y="125"/>
                  </a:moveTo>
                  <a:cubicBezTo>
                    <a:pt x="4" y="125"/>
                    <a:pt x="0" y="122"/>
                    <a:pt x="0" y="117"/>
                  </a:cubicBez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ubicBezTo>
                    <a:pt x="13" y="0"/>
                    <a:pt x="17" y="4"/>
                    <a:pt x="17" y="9"/>
                  </a:cubicBezTo>
                  <a:lnTo>
                    <a:pt x="17" y="117"/>
                  </a:lnTo>
                  <a:cubicBezTo>
                    <a:pt x="17" y="122"/>
                    <a:pt x="13" y="125"/>
                    <a:pt x="9" y="1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0" name="Nuclear_football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2D129B0-1A57-E134-36E5-CFD53DC30753}"/>
              </a:ext>
            </a:extLst>
          </p:cNvPr>
          <p:cNvGrpSpPr>
            <a:grpSpLocks noChangeAspect="1"/>
          </p:cNvGrpSpPr>
          <p:nvPr/>
        </p:nvGrpSpPr>
        <p:grpSpPr>
          <a:xfrm>
            <a:off x="5132380" y="5265615"/>
            <a:ext cx="622939" cy="545785"/>
            <a:chOff x="9009615" y="4743699"/>
            <a:chExt cx="968680" cy="848704"/>
          </a:xfrm>
          <a:solidFill>
            <a:srgbClr val="FFFFFF"/>
          </a:solidFill>
        </p:grpSpPr>
        <p:sp>
          <p:nvSpPr>
            <p:cNvPr id="101" name="Free-form: Shape 3">
              <a:extLst>
                <a:ext uri="{FF2B5EF4-FFF2-40B4-BE49-F238E27FC236}">
                  <a16:creationId xmlns:a16="http://schemas.microsoft.com/office/drawing/2014/main" id="{DD150C26-ADE3-1810-89B0-F1208F5BEFE1}"/>
                </a:ext>
              </a:extLst>
            </p:cNvPr>
            <p:cNvSpPr/>
            <p:nvPr/>
          </p:nvSpPr>
          <p:spPr>
            <a:xfrm>
              <a:off x="9009615" y="4743699"/>
              <a:ext cx="968680" cy="848704"/>
            </a:xfrm>
            <a:custGeom>
              <a:avLst/>
              <a:gdLst>
                <a:gd name="connsiteX0" fmla="*/ 622666 w 968680"/>
                <a:gd name="connsiteY0" fmla="*/ 0 h 848704"/>
                <a:gd name="connsiteX1" fmla="*/ 662346 w 968680"/>
                <a:gd name="connsiteY1" fmla="*/ 48967 h 848704"/>
                <a:gd name="connsiteX2" fmla="*/ 661946 w 968680"/>
                <a:gd name="connsiteY2" fmla="*/ 120996 h 848704"/>
                <a:gd name="connsiteX3" fmla="*/ 665368 w 968680"/>
                <a:gd name="connsiteY3" fmla="*/ 124417 h 848704"/>
                <a:gd name="connsiteX4" fmla="*/ 730731 w 968680"/>
                <a:gd name="connsiteY4" fmla="*/ 124417 h 848704"/>
                <a:gd name="connsiteX5" fmla="*/ 732909 w 968680"/>
                <a:gd name="connsiteY5" fmla="*/ 122373 h 848704"/>
                <a:gd name="connsiteX6" fmla="*/ 733842 w 968680"/>
                <a:gd name="connsiteY6" fmla="*/ 101667 h 848704"/>
                <a:gd name="connsiteX7" fmla="*/ 757792 w 968680"/>
                <a:gd name="connsiteY7" fmla="*/ 66119 h 848704"/>
                <a:gd name="connsiteX8" fmla="*/ 795740 w 968680"/>
                <a:gd name="connsiteY8" fmla="*/ 62031 h 848704"/>
                <a:gd name="connsiteX9" fmla="*/ 844618 w 968680"/>
                <a:gd name="connsiteY9" fmla="*/ 62075 h 848704"/>
                <a:gd name="connsiteX10" fmla="*/ 884965 w 968680"/>
                <a:gd name="connsiteY10" fmla="*/ 68163 h 848704"/>
                <a:gd name="connsiteX11" fmla="*/ 906471 w 968680"/>
                <a:gd name="connsiteY11" fmla="*/ 108910 h 848704"/>
                <a:gd name="connsiteX12" fmla="*/ 906827 w 968680"/>
                <a:gd name="connsiteY12" fmla="*/ 122240 h 848704"/>
                <a:gd name="connsiteX13" fmla="*/ 909715 w 968680"/>
                <a:gd name="connsiteY13" fmla="*/ 124417 h 848704"/>
                <a:gd name="connsiteX14" fmla="*/ 957482 w 968680"/>
                <a:gd name="connsiteY14" fmla="*/ 124595 h 848704"/>
                <a:gd name="connsiteX15" fmla="*/ 968680 w 968680"/>
                <a:gd name="connsiteY15" fmla="*/ 133216 h 848704"/>
                <a:gd name="connsiteX16" fmla="*/ 968680 w 968680"/>
                <a:gd name="connsiteY16" fmla="*/ 777254 h 848704"/>
                <a:gd name="connsiteX17" fmla="*/ 955305 w 968680"/>
                <a:gd name="connsiteY17" fmla="*/ 786585 h 848704"/>
                <a:gd name="connsiteX18" fmla="*/ 908915 w 968680"/>
                <a:gd name="connsiteY18" fmla="*/ 786630 h 848704"/>
                <a:gd name="connsiteX19" fmla="*/ 906649 w 968680"/>
                <a:gd name="connsiteY19" fmla="*/ 788896 h 848704"/>
                <a:gd name="connsiteX20" fmla="*/ 903716 w 968680"/>
                <a:gd name="connsiteY20" fmla="*/ 822133 h 848704"/>
                <a:gd name="connsiteX21" fmla="*/ 867857 w 968680"/>
                <a:gd name="connsiteY21" fmla="*/ 848705 h 848704"/>
                <a:gd name="connsiteX22" fmla="*/ 770767 w 968680"/>
                <a:gd name="connsiteY22" fmla="*/ 848705 h 848704"/>
                <a:gd name="connsiteX23" fmla="*/ 740996 w 968680"/>
                <a:gd name="connsiteY23" fmla="*/ 831198 h 848704"/>
                <a:gd name="connsiteX24" fmla="*/ 733842 w 968680"/>
                <a:gd name="connsiteY24" fmla="*/ 810891 h 848704"/>
                <a:gd name="connsiteX25" fmla="*/ 733309 w 968680"/>
                <a:gd name="connsiteY25" fmla="*/ 789029 h 848704"/>
                <a:gd name="connsiteX26" fmla="*/ 731046 w 968680"/>
                <a:gd name="connsiteY26" fmla="*/ 786500 h 848704"/>
                <a:gd name="connsiteX27" fmla="*/ 730909 w 968680"/>
                <a:gd name="connsiteY27" fmla="*/ 786496 h 848704"/>
                <a:gd name="connsiteX28" fmla="*/ 238749 w 968680"/>
                <a:gd name="connsiteY28" fmla="*/ 786496 h 848704"/>
                <a:gd name="connsiteX29" fmla="*/ 236216 w 968680"/>
                <a:gd name="connsiteY29" fmla="*/ 788807 h 848704"/>
                <a:gd name="connsiteX30" fmla="*/ 235371 w 968680"/>
                <a:gd name="connsiteY30" fmla="*/ 805381 h 848704"/>
                <a:gd name="connsiteX31" fmla="*/ 198135 w 968680"/>
                <a:gd name="connsiteY31" fmla="*/ 848705 h 848704"/>
                <a:gd name="connsiteX32" fmla="*/ 101489 w 968680"/>
                <a:gd name="connsiteY32" fmla="*/ 848705 h 848704"/>
                <a:gd name="connsiteX33" fmla="*/ 62920 w 968680"/>
                <a:gd name="connsiteY33" fmla="*/ 806492 h 848704"/>
                <a:gd name="connsiteX34" fmla="*/ 61987 w 968680"/>
                <a:gd name="connsiteY34" fmla="*/ 788940 h 848704"/>
                <a:gd name="connsiteX35" fmla="*/ 59676 w 968680"/>
                <a:gd name="connsiteY35" fmla="*/ 786674 h 848704"/>
                <a:gd name="connsiteX36" fmla="*/ 12220 w 968680"/>
                <a:gd name="connsiteY36" fmla="*/ 786185 h 848704"/>
                <a:gd name="connsiteX37" fmla="*/ 0 w 968680"/>
                <a:gd name="connsiteY37" fmla="*/ 776810 h 848704"/>
                <a:gd name="connsiteX38" fmla="*/ 0 w 968680"/>
                <a:gd name="connsiteY38" fmla="*/ 699004 h 848704"/>
                <a:gd name="connsiteX39" fmla="*/ 0 w 968680"/>
                <a:gd name="connsiteY39" fmla="*/ 660124 h 848704"/>
                <a:gd name="connsiteX40" fmla="*/ 0 w 968680"/>
                <a:gd name="connsiteY40" fmla="*/ 650259 h 848704"/>
                <a:gd name="connsiteX41" fmla="*/ 0 w 968680"/>
                <a:gd name="connsiteY41" fmla="*/ 283850 h 848704"/>
                <a:gd name="connsiteX42" fmla="*/ 0 w 968680"/>
                <a:gd name="connsiteY42" fmla="*/ 143791 h 848704"/>
                <a:gd name="connsiteX43" fmla="*/ 2000 w 968680"/>
                <a:gd name="connsiteY43" fmla="*/ 130016 h 848704"/>
                <a:gd name="connsiteX44" fmla="*/ 4488 w 968680"/>
                <a:gd name="connsiteY44" fmla="*/ 126950 h 848704"/>
                <a:gd name="connsiteX45" fmla="*/ 22217 w 968680"/>
                <a:gd name="connsiteY45" fmla="*/ 124417 h 848704"/>
                <a:gd name="connsiteX46" fmla="*/ 59676 w 968680"/>
                <a:gd name="connsiteY46" fmla="*/ 124195 h 848704"/>
                <a:gd name="connsiteX47" fmla="*/ 62076 w 968680"/>
                <a:gd name="connsiteY47" fmla="*/ 121751 h 848704"/>
                <a:gd name="connsiteX48" fmla="*/ 62831 w 968680"/>
                <a:gd name="connsiteY48" fmla="*/ 102467 h 848704"/>
                <a:gd name="connsiteX49" fmla="*/ 85937 w 968680"/>
                <a:gd name="connsiteY49" fmla="*/ 66963 h 848704"/>
                <a:gd name="connsiteX50" fmla="*/ 123529 w 968680"/>
                <a:gd name="connsiteY50" fmla="*/ 62253 h 848704"/>
                <a:gd name="connsiteX51" fmla="*/ 173651 w 968680"/>
                <a:gd name="connsiteY51" fmla="*/ 62164 h 848704"/>
                <a:gd name="connsiteX52" fmla="*/ 212310 w 968680"/>
                <a:gd name="connsiteY52" fmla="*/ 67052 h 848704"/>
                <a:gd name="connsiteX53" fmla="*/ 235149 w 968680"/>
                <a:gd name="connsiteY53" fmla="*/ 104955 h 848704"/>
                <a:gd name="connsiteX54" fmla="*/ 235771 w 968680"/>
                <a:gd name="connsiteY54" fmla="*/ 122373 h 848704"/>
                <a:gd name="connsiteX55" fmla="*/ 237949 w 968680"/>
                <a:gd name="connsiteY55" fmla="*/ 124462 h 848704"/>
                <a:gd name="connsiteX56" fmla="*/ 300158 w 968680"/>
                <a:gd name="connsiteY56" fmla="*/ 124462 h 848704"/>
                <a:gd name="connsiteX57" fmla="*/ 302246 w 968680"/>
                <a:gd name="connsiteY57" fmla="*/ 122373 h 848704"/>
                <a:gd name="connsiteX58" fmla="*/ 302202 w 968680"/>
                <a:gd name="connsiteY58" fmla="*/ 44435 h 848704"/>
                <a:gd name="connsiteX59" fmla="*/ 342104 w 968680"/>
                <a:gd name="connsiteY59" fmla="*/ 0 h 848704"/>
                <a:gd name="connsiteX60" fmla="*/ 622666 w 968680"/>
                <a:gd name="connsiteY60" fmla="*/ 0 h 848704"/>
                <a:gd name="connsiteX61" fmla="*/ 482163 w 968680"/>
                <a:gd name="connsiteY61" fmla="*/ 61987 h 848704"/>
                <a:gd name="connsiteX62" fmla="*/ 589917 w 968680"/>
                <a:gd name="connsiteY62" fmla="*/ 62831 h 848704"/>
                <a:gd name="connsiteX63" fmla="*/ 599737 w 968680"/>
                <a:gd name="connsiteY63" fmla="*/ 72962 h 848704"/>
                <a:gd name="connsiteX64" fmla="*/ 599737 w 968680"/>
                <a:gd name="connsiteY64" fmla="*/ 120063 h 848704"/>
                <a:gd name="connsiteX65" fmla="*/ 604314 w 968680"/>
                <a:gd name="connsiteY65" fmla="*/ 124640 h 848704"/>
                <a:gd name="connsiteX66" fmla="*/ 635641 w 968680"/>
                <a:gd name="connsiteY66" fmla="*/ 124640 h 848704"/>
                <a:gd name="connsiteX67" fmla="*/ 640262 w 968680"/>
                <a:gd name="connsiteY67" fmla="*/ 119974 h 848704"/>
                <a:gd name="connsiteX68" fmla="*/ 639507 w 968680"/>
                <a:gd name="connsiteY68" fmla="*/ 44790 h 848704"/>
                <a:gd name="connsiteX69" fmla="*/ 619955 w 968680"/>
                <a:gd name="connsiteY69" fmla="*/ 22484 h 848704"/>
                <a:gd name="connsiteX70" fmla="*/ 482207 w 968680"/>
                <a:gd name="connsiteY70" fmla="*/ 22129 h 848704"/>
                <a:gd name="connsiteX71" fmla="*/ 344459 w 968680"/>
                <a:gd name="connsiteY71" fmla="*/ 22395 h 848704"/>
                <a:gd name="connsiteX72" fmla="*/ 324863 w 968680"/>
                <a:gd name="connsiteY72" fmla="*/ 44701 h 848704"/>
                <a:gd name="connsiteX73" fmla="*/ 324063 w 968680"/>
                <a:gd name="connsiteY73" fmla="*/ 119885 h 848704"/>
                <a:gd name="connsiteX74" fmla="*/ 328685 w 968680"/>
                <a:gd name="connsiteY74" fmla="*/ 124551 h 848704"/>
                <a:gd name="connsiteX75" fmla="*/ 360011 w 968680"/>
                <a:gd name="connsiteY75" fmla="*/ 124551 h 848704"/>
                <a:gd name="connsiteX76" fmla="*/ 364588 w 968680"/>
                <a:gd name="connsiteY76" fmla="*/ 119974 h 848704"/>
                <a:gd name="connsiteX77" fmla="*/ 364632 w 968680"/>
                <a:gd name="connsiteY77" fmla="*/ 72873 h 848704"/>
                <a:gd name="connsiteX78" fmla="*/ 374453 w 968680"/>
                <a:gd name="connsiteY78" fmla="*/ 62742 h 848704"/>
                <a:gd name="connsiteX79" fmla="*/ 482163 w 968680"/>
                <a:gd name="connsiteY79" fmla="*/ 61987 h 848704"/>
                <a:gd name="connsiteX80" fmla="*/ 213287 w 968680"/>
                <a:gd name="connsiteY80" fmla="*/ 105355 h 848704"/>
                <a:gd name="connsiteX81" fmla="*/ 192492 w 968680"/>
                <a:gd name="connsiteY81" fmla="*/ 84559 h 848704"/>
                <a:gd name="connsiteX82" fmla="*/ 105044 w 968680"/>
                <a:gd name="connsiteY82" fmla="*/ 84559 h 848704"/>
                <a:gd name="connsiteX83" fmla="*/ 84248 w 968680"/>
                <a:gd name="connsiteY83" fmla="*/ 105355 h 848704"/>
                <a:gd name="connsiteX84" fmla="*/ 84248 w 968680"/>
                <a:gd name="connsiteY84" fmla="*/ 805825 h 848704"/>
                <a:gd name="connsiteX85" fmla="*/ 105044 w 968680"/>
                <a:gd name="connsiteY85" fmla="*/ 826621 h 848704"/>
                <a:gd name="connsiteX86" fmla="*/ 192492 w 968680"/>
                <a:gd name="connsiteY86" fmla="*/ 826621 h 848704"/>
                <a:gd name="connsiteX87" fmla="*/ 213287 w 968680"/>
                <a:gd name="connsiteY87" fmla="*/ 805825 h 848704"/>
                <a:gd name="connsiteX88" fmla="*/ 213287 w 968680"/>
                <a:gd name="connsiteY88" fmla="*/ 105355 h 848704"/>
                <a:gd name="connsiteX89" fmla="*/ 577920 w 968680"/>
                <a:gd name="connsiteY89" fmla="*/ 88381 h 848704"/>
                <a:gd name="connsiteX90" fmla="*/ 573965 w 968680"/>
                <a:gd name="connsiteY90" fmla="*/ 84426 h 848704"/>
                <a:gd name="connsiteX91" fmla="*/ 390538 w 968680"/>
                <a:gd name="connsiteY91" fmla="*/ 84426 h 848704"/>
                <a:gd name="connsiteX92" fmla="*/ 386583 w 968680"/>
                <a:gd name="connsiteY92" fmla="*/ 88381 h 848704"/>
                <a:gd name="connsiteX93" fmla="*/ 386583 w 968680"/>
                <a:gd name="connsiteY93" fmla="*/ 120552 h 848704"/>
                <a:gd name="connsiteX94" fmla="*/ 390538 w 968680"/>
                <a:gd name="connsiteY94" fmla="*/ 124506 h 848704"/>
                <a:gd name="connsiteX95" fmla="*/ 573965 w 968680"/>
                <a:gd name="connsiteY95" fmla="*/ 124506 h 848704"/>
                <a:gd name="connsiteX96" fmla="*/ 577920 w 968680"/>
                <a:gd name="connsiteY96" fmla="*/ 120552 h 848704"/>
                <a:gd name="connsiteX97" fmla="*/ 577920 w 968680"/>
                <a:gd name="connsiteY97" fmla="*/ 88381 h 848704"/>
                <a:gd name="connsiteX98" fmla="*/ 883987 w 968680"/>
                <a:gd name="connsiteY98" fmla="*/ 104955 h 848704"/>
                <a:gd name="connsiteX99" fmla="*/ 863636 w 968680"/>
                <a:gd name="connsiteY99" fmla="*/ 84604 h 848704"/>
                <a:gd name="connsiteX100" fmla="*/ 775744 w 968680"/>
                <a:gd name="connsiteY100" fmla="*/ 84604 h 848704"/>
                <a:gd name="connsiteX101" fmla="*/ 755393 w 968680"/>
                <a:gd name="connsiteY101" fmla="*/ 104955 h 848704"/>
                <a:gd name="connsiteX102" fmla="*/ 755393 w 968680"/>
                <a:gd name="connsiteY102" fmla="*/ 806225 h 848704"/>
                <a:gd name="connsiteX103" fmla="*/ 775744 w 968680"/>
                <a:gd name="connsiteY103" fmla="*/ 826577 h 848704"/>
                <a:gd name="connsiteX104" fmla="*/ 863636 w 968680"/>
                <a:gd name="connsiteY104" fmla="*/ 826577 h 848704"/>
                <a:gd name="connsiteX105" fmla="*/ 883987 w 968680"/>
                <a:gd name="connsiteY105" fmla="*/ 806225 h 848704"/>
                <a:gd name="connsiteX106" fmla="*/ 883987 w 968680"/>
                <a:gd name="connsiteY106" fmla="*/ 104955 h 848704"/>
                <a:gd name="connsiteX107" fmla="*/ 62076 w 968680"/>
                <a:gd name="connsiteY107" fmla="*/ 150767 h 848704"/>
                <a:gd name="connsiteX108" fmla="*/ 57721 w 968680"/>
                <a:gd name="connsiteY108" fmla="*/ 146413 h 848704"/>
                <a:gd name="connsiteX109" fmla="*/ 26528 w 968680"/>
                <a:gd name="connsiteY109" fmla="*/ 146413 h 848704"/>
                <a:gd name="connsiteX110" fmla="*/ 22173 w 968680"/>
                <a:gd name="connsiteY110" fmla="*/ 150767 h 848704"/>
                <a:gd name="connsiteX111" fmla="*/ 22173 w 968680"/>
                <a:gd name="connsiteY111" fmla="*/ 760146 h 848704"/>
                <a:gd name="connsiteX112" fmla="*/ 26528 w 968680"/>
                <a:gd name="connsiteY112" fmla="*/ 764501 h 848704"/>
                <a:gd name="connsiteX113" fmla="*/ 57721 w 968680"/>
                <a:gd name="connsiteY113" fmla="*/ 764501 h 848704"/>
                <a:gd name="connsiteX114" fmla="*/ 62076 w 968680"/>
                <a:gd name="connsiteY114" fmla="*/ 760146 h 848704"/>
                <a:gd name="connsiteX115" fmla="*/ 62076 w 968680"/>
                <a:gd name="connsiteY115" fmla="*/ 150767 h 848704"/>
                <a:gd name="connsiteX116" fmla="*/ 733175 w 968680"/>
                <a:gd name="connsiteY116" fmla="*/ 149656 h 848704"/>
                <a:gd name="connsiteX117" fmla="*/ 730154 w 968680"/>
                <a:gd name="connsiteY117" fmla="*/ 146635 h 848704"/>
                <a:gd name="connsiteX118" fmla="*/ 238526 w 968680"/>
                <a:gd name="connsiteY118" fmla="*/ 146635 h 848704"/>
                <a:gd name="connsiteX119" fmla="*/ 235505 w 968680"/>
                <a:gd name="connsiteY119" fmla="*/ 149656 h 848704"/>
                <a:gd name="connsiteX120" fmla="*/ 235505 w 968680"/>
                <a:gd name="connsiteY120" fmla="*/ 761257 h 848704"/>
                <a:gd name="connsiteX121" fmla="*/ 238526 w 968680"/>
                <a:gd name="connsiteY121" fmla="*/ 764279 h 848704"/>
                <a:gd name="connsiteX122" fmla="*/ 730154 w 968680"/>
                <a:gd name="connsiteY122" fmla="*/ 764279 h 848704"/>
                <a:gd name="connsiteX123" fmla="*/ 733175 w 968680"/>
                <a:gd name="connsiteY123" fmla="*/ 761257 h 848704"/>
                <a:gd name="connsiteX124" fmla="*/ 733175 w 968680"/>
                <a:gd name="connsiteY124" fmla="*/ 149656 h 848704"/>
                <a:gd name="connsiteX125" fmla="*/ 946551 w 968680"/>
                <a:gd name="connsiteY125" fmla="*/ 151167 h 848704"/>
                <a:gd name="connsiteX126" fmla="*/ 941619 w 968680"/>
                <a:gd name="connsiteY126" fmla="*/ 146235 h 848704"/>
                <a:gd name="connsiteX127" fmla="*/ 911492 w 968680"/>
                <a:gd name="connsiteY127" fmla="*/ 146235 h 848704"/>
                <a:gd name="connsiteX128" fmla="*/ 906560 w 968680"/>
                <a:gd name="connsiteY128" fmla="*/ 151167 h 848704"/>
                <a:gd name="connsiteX129" fmla="*/ 906560 w 968680"/>
                <a:gd name="connsiteY129" fmla="*/ 759480 h 848704"/>
                <a:gd name="connsiteX130" fmla="*/ 911492 w 968680"/>
                <a:gd name="connsiteY130" fmla="*/ 764412 h 848704"/>
                <a:gd name="connsiteX131" fmla="*/ 941619 w 968680"/>
                <a:gd name="connsiteY131" fmla="*/ 764412 h 848704"/>
                <a:gd name="connsiteX132" fmla="*/ 946551 w 968680"/>
                <a:gd name="connsiteY132" fmla="*/ 759480 h 848704"/>
                <a:gd name="connsiteX133" fmla="*/ 946551 w 968680"/>
                <a:gd name="connsiteY133" fmla="*/ 151167 h 848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968680" h="848704">
                  <a:moveTo>
                    <a:pt x="622666" y="0"/>
                  </a:moveTo>
                  <a:cubicBezTo>
                    <a:pt x="649208" y="5036"/>
                    <a:pt x="662435" y="21358"/>
                    <a:pt x="662346" y="48967"/>
                  </a:cubicBezTo>
                  <a:cubicBezTo>
                    <a:pt x="662228" y="71836"/>
                    <a:pt x="662094" y="95846"/>
                    <a:pt x="661946" y="120996"/>
                  </a:cubicBezTo>
                  <a:cubicBezTo>
                    <a:pt x="661946" y="123277"/>
                    <a:pt x="663087" y="124417"/>
                    <a:pt x="665368" y="124417"/>
                  </a:cubicBezTo>
                  <a:lnTo>
                    <a:pt x="730731" y="124417"/>
                  </a:lnTo>
                  <a:cubicBezTo>
                    <a:pt x="732124" y="124417"/>
                    <a:pt x="732849" y="123736"/>
                    <a:pt x="732909" y="122373"/>
                  </a:cubicBezTo>
                  <a:cubicBezTo>
                    <a:pt x="733383" y="109932"/>
                    <a:pt x="733694" y="103030"/>
                    <a:pt x="733842" y="101667"/>
                  </a:cubicBezTo>
                  <a:cubicBezTo>
                    <a:pt x="735471" y="84456"/>
                    <a:pt x="743455" y="72606"/>
                    <a:pt x="757792" y="66119"/>
                  </a:cubicBezTo>
                  <a:cubicBezTo>
                    <a:pt x="764517" y="63097"/>
                    <a:pt x="777166" y="61735"/>
                    <a:pt x="795740" y="62031"/>
                  </a:cubicBezTo>
                  <a:cubicBezTo>
                    <a:pt x="819912" y="62386"/>
                    <a:pt x="836205" y="62401"/>
                    <a:pt x="844618" y="62075"/>
                  </a:cubicBezTo>
                  <a:cubicBezTo>
                    <a:pt x="863192" y="61394"/>
                    <a:pt x="876641" y="63423"/>
                    <a:pt x="884965" y="68163"/>
                  </a:cubicBezTo>
                  <a:cubicBezTo>
                    <a:pt x="899243" y="76309"/>
                    <a:pt x="906412" y="89892"/>
                    <a:pt x="906471" y="108910"/>
                  </a:cubicBezTo>
                  <a:cubicBezTo>
                    <a:pt x="906501" y="116997"/>
                    <a:pt x="906619" y="121440"/>
                    <a:pt x="906827" y="122240"/>
                  </a:cubicBezTo>
                  <a:cubicBezTo>
                    <a:pt x="907182" y="123632"/>
                    <a:pt x="908145" y="124358"/>
                    <a:pt x="909715" y="124417"/>
                  </a:cubicBezTo>
                  <a:cubicBezTo>
                    <a:pt x="912381" y="124477"/>
                    <a:pt x="928304" y="124536"/>
                    <a:pt x="957482" y="124595"/>
                  </a:cubicBezTo>
                  <a:cubicBezTo>
                    <a:pt x="963200" y="124595"/>
                    <a:pt x="966932" y="127469"/>
                    <a:pt x="968680" y="133216"/>
                  </a:cubicBezTo>
                  <a:lnTo>
                    <a:pt x="968680" y="777254"/>
                  </a:lnTo>
                  <a:cubicBezTo>
                    <a:pt x="966695" y="783534"/>
                    <a:pt x="962237" y="786644"/>
                    <a:pt x="955305" y="786585"/>
                  </a:cubicBezTo>
                  <a:cubicBezTo>
                    <a:pt x="936909" y="786407"/>
                    <a:pt x="921446" y="786422"/>
                    <a:pt x="908915" y="786630"/>
                  </a:cubicBezTo>
                  <a:cubicBezTo>
                    <a:pt x="907434" y="786659"/>
                    <a:pt x="906679" y="787415"/>
                    <a:pt x="906649" y="788896"/>
                  </a:cubicBezTo>
                  <a:cubicBezTo>
                    <a:pt x="906323" y="807499"/>
                    <a:pt x="905346" y="818578"/>
                    <a:pt x="903716" y="822133"/>
                  </a:cubicBezTo>
                  <a:cubicBezTo>
                    <a:pt x="896666" y="837567"/>
                    <a:pt x="884713" y="846424"/>
                    <a:pt x="867857" y="848705"/>
                  </a:cubicBezTo>
                  <a:lnTo>
                    <a:pt x="770767" y="848705"/>
                  </a:lnTo>
                  <a:cubicBezTo>
                    <a:pt x="757763" y="846809"/>
                    <a:pt x="747839" y="840973"/>
                    <a:pt x="740996" y="831198"/>
                  </a:cubicBezTo>
                  <a:cubicBezTo>
                    <a:pt x="736997" y="825421"/>
                    <a:pt x="734612" y="818652"/>
                    <a:pt x="733842" y="810891"/>
                  </a:cubicBezTo>
                  <a:cubicBezTo>
                    <a:pt x="733101" y="803604"/>
                    <a:pt x="732923" y="796316"/>
                    <a:pt x="733309" y="789029"/>
                  </a:cubicBezTo>
                  <a:cubicBezTo>
                    <a:pt x="733382" y="787706"/>
                    <a:pt x="732369" y="786574"/>
                    <a:pt x="731046" y="786500"/>
                  </a:cubicBezTo>
                  <a:cubicBezTo>
                    <a:pt x="731000" y="786498"/>
                    <a:pt x="730955" y="786496"/>
                    <a:pt x="730909" y="786496"/>
                  </a:cubicBezTo>
                  <a:lnTo>
                    <a:pt x="238749" y="786496"/>
                  </a:lnTo>
                  <a:cubicBezTo>
                    <a:pt x="237208" y="786496"/>
                    <a:pt x="236364" y="787267"/>
                    <a:pt x="236216" y="788807"/>
                  </a:cubicBezTo>
                  <a:cubicBezTo>
                    <a:pt x="235860" y="792184"/>
                    <a:pt x="235579" y="797709"/>
                    <a:pt x="235371" y="805381"/>
                  </a:cubicBezTo>
                  <a:cubicBezTo>
                    <a:pt x="234690" y="829850"/>
                    <a:pt x="222278" y="844291"/>
                    <a:pt x="198135" y="848705"/>
                  </a:cubicBezTo>
                  <a:lnTo>
                    <a:pt x="101489" y="848705"/>
                  </a:lnTo>
                  <a:cubicBezTo>
                    <a:pt x="77139" y="845061"/>
                    <a:pt x="64282" y="830990"/>
                    <a:pt x="62920" y="806492"/>
                  </a:cubicBezTo>
                  <a:cubicBezTo>
                    <a:pt x="62535" y="799975"/>
                    <a:pt x="62224" y="794124"/>
                    <a:pt x="61987" y="788940"/>
                  </a:cubicBezTo>
                  <a:cubicBezTo>
                    <a:pt x="61927" y="787459"/>
                    <a:pt x="61157" y="786704"/>
                    <a:pt x="59676" y="786674"/>
                  </a:cubicBezTo>
                  <a:cubicBezTo>
                    <a:pt x="39799" y="786467"/>
                    <a:pt x="23980" y="786304"/>
                    <a:pt x="12220" y="786185"/>
                  </a:cubicBezTo>
                  <a:cubicBezTo>
                    <a:pt x="5406" y="786096"/>
                    <a:pt x="1333" y="782971"/>
                    <a:pt x="0" y="776810"/>
                  </a:cubicBezTo>
                  <a:lnTo>
                    <a:pt x="0" y="699004"/>
                  </a:lnTo>
                  <a:lnTo>
                    <a:pt x="0" y="660124"/>
                  </a:lnTo>
                  <a:lnTo>
                    <a:pt x="0" y="650259"/>
                  </a:lnTo>
                  <a:lnTo>
                    <a:pt x="0" y="283850"/>
                  </a:lnTo>
                  <a:lnTo>
                    <a:pt x="0" y="143791"/>
                  </a:lnTo>
                  <a:lnTo>
                    <a:pt x="2000" y="130016"/>
                  </a:lnTo>
                  <a:cubicBezTo>
                    <a:pt x="2237" y="128505"/>
                    <a:pt x="3066" y="127483"/>
                    <a:pt x="4488" y="126950"/>
                  </a:cubicBezTo>
                  <a:cubicBezTo>
                    <a:pt x="9790" y="124966"/>
                    <a:pt x="15700" y="124121"/>
                    <a:pt x="22217" y="124417"/>
                  </a:cubicBezTo>
                  <a:cubicBezTo>
                    <a:pt x="25446" y="124566"/>
                    <a:pt x="37933" y="124492"/>
                    <a:pt x="59676" y="124195"/>
                  </a:cubicBezTo>
                  <a:cubicBezTo>
                    <a:pt x="61276" y="124166"/>
                    <a:pt x="62076" y="123351"/>
                    <a:pt x="62076" y="121751"/>
                  </a:cubicBezTo>
                  <a:cubicBezTo>
                    <a:pt x="62046" y="115945"/>
                    <a:pt x="62298" y="109517"/>
                    <a:pt x="62831" y="102467"/>
                  </a:cubicBezTo>
                  <a:cubicBezTo>
                    <a:pt x="64134" y="85433"/>
                    <a:pt x="71836" y="73599"/>
                    <a:pt x="85937" y="66963"/>
                  </a:cubicBezTo>
                  <a:cubicBezTo>
                    <a:pt x="92543" y="63853"/>
                    <a:pt x="105074" y="62283"/>
                    <a:pt x="123529" y="62253"/>
                  </a:cubicBezTo>
                  <a:cubicBezTo>
                    <a:pt x="140236" y="62224"/>
                    <a:pt x="156944" y="62194"/>
                    <a:pt x="173651" y="62164"/>
                  </a:cubicBezTo>
                  <a:cubicBezTo>
                    <a:pt x="192610" y="62164"/>
                    <a:pt x="205496" y="63794"/>
                    <a:pt x="212310" y="67052"/>
                  </a:cubicBezTo>
                  <a:cubicBezTo>
                    <a:pt x="226292" y="73717"/>
                    <a:pt x="233905" y="86352"/>
                    <a:pt x="235149" y="104955"/>
                  </a:cubicBezTo>
                  <a:cubicBezTo>
                    <a:pt x="235297" y="107236"/>
                    <a:pt x="235505" y="113042"/>
                    <a:pt x="235771" y="122373"/>
                  </a:cubicBezTo>
                  <a:cubicBezTo>
                    <a:pt x="235831" y="123766"/>
                    <a:pt x="236556" y="124462"/>
                    <a:pt x="237949" y="124462"/>
                  </a:cubicBezTo>
                  <a:lnTo>
                    <a:pt x="300158" y="124462"/>
                  </a:lnTo>
                  <a:cubicBezTo>
                    <a:pt x="301311" y="124462"/>
                    <a:pt x="302246" y="123527"/>
                    <a:pt x="302246" y="122373"/>
                  </a:cubicBezTo>
                  <a:cubicBezTo>
                    <a:pt x="302127" y="97786"/>
                    <a:pt x="302113" y="71807"/>
                    <a:pt x="302202" y="44435"/>
                  </a:cubicBezTo>
                  <a:cubicBezTo>
                    <a:pt x="302290" y="19225"/>
                    <a:pt x="315591" y="4414"/>
                    <a:pt x="342104" y="0"/>
                  </a:cubicBezTo>
                  <a:lnTo>
                    <a:pt x="622666" y="0"/>
                  </a:lnTo>
                  <a:close/>
                  <a:moveTo>
                    <a:pt x="482163" y="61987"/>
                  </a:moveTo>
                  <a:cubicBezTo>
                    <a:pt x="533026" y="61987"/>
                    <a:pt x="568944" y="62268"/>
                    <a:pt x="589917" y="62831"/>
                  </a:cubicBezTo>
                  <a:cubicBezTo>
                    <a:pt x="596464" y="63009"/>
                    <a:pt x="599737" y="66386"/>
                    <a:pt x="599737" y="72962"/>
                  </a:cubicBezTo>
                  <a:lnTo>
                    <a:pt x="599737" y="120063"/>
                  </a:lnTo>
                  <a:cubicBezTo>
                    <a:pt x="599737" y="123114"/>
                    <a:pt x="601263" y="124640"/>
                    <a:pt x="604314" y="124640"/>
                  </a:cubicBezTo>
                  <a:lnTo>
                    <a:pt x="635641" y="124640"/>
                  </a:lnTo>
                  <a:cubicBezTo>
                    <a:pt x="638751" y="124640"/>
                    <a:pt x="640292" y="123084"/>
                    <a:pt x="640262" y="119974"/>
                  </a:cubicBezTo>
                  <a:cubicBezTo>
                    <a:pt x="639906" y="76872"/>
                    <a:pt x="639655" y="51811"/>
                    <a:pt x="639507" y="44790"/>
                  </a:cubicBezTo>
                  <a:cubicBezTo>
                    <a:pt x="639181" y="30097"/>
                    <a:pt x="632664" y="22662"/>
                    <a:pt x="619955" y="22484"/>
                  </a:cubicBezTo>
                  <a:cubicBezTo>
                    <a:pt x="604225" y="22277"/>
                    <a:pt x="558309" y="22158"/>
                    <a:pt x="482207" y="22129"/>
                  </a:cubicBezTo>
                  <a:cubicBezTo>
                    <a:pt x="406105" y="22099"/>
                    <a:pt x="360189" y="22188"/>
                    <a:pt x="344459" y="22395"/>
                  </a:cubicBezTo>
                  <a:cubicBezTo>
                    <a:pt x="331751" y="22573"/>
                    <a:pt x="325219" y="30008"/>
                    <a:pt x="324863" y="44701"/>
                  </a:cubicBezTo>
                  <a:cubicBezTo>
                    <a:pt x="324715" y="51722"/>
                    <a:pt x="324449" y="76783"/>
                    <a:pt x="324063" y="119885"/>
                  </a:cubicBezTo>
                  <a:cubicBezTo>
                    <a:pt x="324034" y="122996"/>
                    <a:pt x="325574" y="124551"/>
                    <a:pt x="328685" y="124551"/>
                  </a:cubicBezTo>
                  <a:lnTo>
                    <a:pt x="360011" y="124551"/>
                  </a:lnTo>
                  <a:cubicBezTo>
                    <a:pt x="363062" y="124551"/>
                    <a:pt x="364588" y="123025"/>
                    <a:pt x="364588" y="119974"/>
                  </a:cubicBezTo>
                  <a:lnTo>
                    <a:pt x="364632" y="72873"/>
                  </a:lnTo>
                  <a:cubicBezTo>
                    <a:pt x="364632" y="66297"/>
                    <a:pt x="367906" y="62920"/>
                    <a:pt x="374453" y="62742"/>
                  </a:cubicBezTo>
                  <a:cubicBezTo>
                    <a:pt x="395426" y="62209"/>
                    <a:pt x="431329" y="61957"/>
                    <a:pt x="482163" y="61987"/>
                  </a:cubicBezTo>
                  <a:close/>
                  <a:moveTo>
                    <a:pt x="213287" y="105355"/>
                  </a:moveTo>
                  <a:cubicBezTo>
                    <a:pt x="213287" y="93870"/>
                    <a:pt x="203977" y="84559"/>
                    <a:pt x="192492" y="84559"/>
                  </a:cubicBezTo>
                  <a:lnTo>
                    <a:pt x="105044" y="84559"/>
                  </a:lnTo>
                  <a:cubicBezTo>
                    <a:pt x="93559" y="84559"/>
                    <a:pt x="84248" y="93870"/>
                    <a:pt x="84248" y="105355"/>
                  </a:cubicBezTo>
                  <a:lnTo>
                    <a:pt x="84248" y="805825"/>
                  </a:lnTo>
                  <a:cubicBezTo>
                    <a:pt x="84248" y="817310"/>
                    <a:pt x="93559" y="826621"/>
                    <a:pt x="105044" y="826621"/>
                  </a:cubicBezTo>
                  <a:lnTo>
                    <a:pt x="192492" y="826621"/>
                  </a:lnTo>
                  <a:cubicBezTo>
                    <a:pt x="203977" y="826621"/>
                    <a:pt x="213287" y="817310"/>
                    <a:pt x="213287" y="805825"/>
                  </a:cubicBezTo>
                  <a:lnTo>
                    <a:pt x="213287" y="105355"/>
                  </a:lnTo>
                  <a:close/>
                  <a:moveTo>
                    <a:pt x="577920" y="88381"/>
                  </a:moveTo>
                  <a:cubicBezTo>
                    <a:pt x="577920" y="86197"/>
                    <a:pt x="576149" y="84426"/>
                    <a:pt x="573965" y="84426"/>
                  </a:cubicBezTo>
                  <a:lnTo>
                    <a:pt x="390538" y="84426"/>
                  </a:lnTo>
                  <a:cubicBezTo>
                    <a:pt x="388354" y="84426"/>
                    <a:pt x="386583" y="86197"/>
                    <a:pt x="386583" y="88381"/>
                  </a:cubicBezTo>
                  <a:lnTo>
                    <a:pt x="386583" y="120552"/>
                  </a:lnTo>
                  <a:cubicBezTo>
                    <a:pt x="386583" y="122736"/>
                    <a:pt x="388354" y="124506"/>
                    <a:pt x="390538" y="124506"/>
                  </a:cubicBezTo>
                  <a:lnTo>
                    <a:pt x="573965" y="124506"/>
                  </a:lnTo>
                  <a:cubicBezTo>
                    <a:pt x="576149" y="124506"/>
                    <a:pt x="577920" y="122736"/>
                    <a:pt x="577920" y="120552"/>
                  </a:cubicBezTo>
                  <a:lnTo>
                    <a:pt x="577920" y="88381"/>
                  </a:lnTo>
                  <a:close/>
                  <a:moveTo>
                    <a:pt x="883987" y="104955"/>
                  </a:moveTo>
                  <a:cubicBezTo>
                    <a:pt x="883987" y="93715"/>
                    <a:pt x="874876" y="84604"/>
                    <a:pt x="863636" y="84604"/>
                  </a:cubicBezTo>
                  <a:lnTo>
                    <a:pt x="775744" y="84604"/>
                  </a:lnTo>
                  <a:cubicBezTo>
                    <a:pt x="764504" y="84604"/>
                    <a:pt x="755393" y="93715"/>
                    <a:pt x="755393" y="104955"/>
                  </a:cubicBezTo>
                  <a:lnTo>
                    <a:pt x="755393" y="806225"/>
                  </a:lnTo>
                  <a:cubicBezTo>
                    <a:pt x="755393" y="817465"/>
                    <a:pt x="764504" y="826577"/>
                    <a:pt x="775744" y="826577"/>
                  </a:cubicBezTo>
                  <a:lnTo>
                    <a:pt x="863636" y="826577"/>
                  </a:lnTo>
                  <a:cubicBezTo>
                    <a:pt x="874876" y="826577"/>
                    <a:pt x="883987" y="817465"/>
                    <a:pt x="883987" y="806225"/>
                  </a:cubicBezTo>
                  <a:lnTo>
                    <a:pt x="883987" y="104955"/>
                  </a:lnTo>
                  <a:close/>
                  <a:moveTo>
                    <a:pt x="62076" y="150767"/>
                  </a:moveTo>
                  <a:cubicBezTo>
                    <a:pt x="62076" y="148362"/>
                    <a:pt x="60126" y="146413"/>
                    <a:pt x="57721" y="146413"/>
                  </a:cubicBezTo>
                  <a:lnTo>
                    <a:pt x="26528" y="146413"/>
                  </a:lnTo>
                  <a:cubicBezTo>
                    <a:pt x="24123" y="146413"/>
                    <a:pt x="22173" y="148362"/>
                    <a:pt x="22173" y="150767"/>
                  </a:cubicBezTo>
                  <a:lnTo>
                    <a:pt x="22173" y="760146"/>
                  </a:lnTo>
                  <a:cubicBezTo>
                    <a:pt x="22173" y="762551"/>
                    <a:pt x="24123" y="764501"/>
                    <a:pt x="26528" y="764501"/>
                  </a:cubicBezTo>
                  <a:lnTo>
                    <a:pt x="57721" y="764501"/>
                  </a:lnTo>
                  <a:cubicBezTo>
                    <a:pt x="60126" y="764501"/>
                    <a:pt x="62076" y="762551"/>
                    <a:pt x="62076" y="760146"/>
                  </a:cubicBezTo>
                  <a:lnTo>
                    <a:pt x="62076" y="150767"/>
                  </a:lnTo>
                  <a:close/>
                  <a:moveTo>
                    <a:pt x="733175" y="149656"/>
                  </a:moveTo>
                  <a:cubicBezTo>
                    <a:pt x="733175" y="147988"/>
                    <a:pt x="731822" y="146635"/>
                    <a:pt x="730154" y="146635"/>
                  </a:cubicBezTo>
                  <a:lnTo>
                    <a:pt x="238526" y="146635"/>
                  </a:lnTo>
                  <a:cubicBezTo>
                    <a:pt x="236858" y="146635"/>
                    <a:pt x="235505" y="147988"/>
                    <a:pt x="235505" y="149656"/>
                  </a:cubicBezTo>
                  <a:lnTo>
                    <a:pt x="235505" y="761257"/>
                  </a:lnTo>
                  <a:cubicBezTo>
                    <a:pt x="235505" y="762926"/>
                    <a:pt x="236858" y="764279"/>
                    <a:pt x="238526" y="764279"/>
                  </a:cubicBezTo>
                  <a:lnTo>
                    <a:pt x="730154" y="764279"/>
                  </a:lnTo>
                  <a:cubicBezTo>
                    <a:pt x="731822" y="764279"/>
                    <a:pt x="733175" y="762926"/>
                    <a:pt x="733175" y="761257"/>
                  </a:cubicBezTo>
                  <a:lnTo>
                    <a:pt x="733175" y="149656"/>
                  </a:lnTo>
                  <a:close/>
                  <a:moveTo>
                    <a:pt x="946551" y="151167"/>
                  </a:moveTo>
                  <a:cubicBezTo>
                    <a:pt x="946551" y="148443"/>
                    <a:pt x="944343" y="146235"/>
                    <a:pt x="941619" y="146235"/>
                  </a:cubicBezTo>
                  <a:lnTo>
                    <a:pt x="911492" y="146235"/>
                  </a:lnTo>
                  <a:cubicBezTo>
                    <a:pt x="908768" y="146235"/>
                    <a:pt x="906560" y="148443"/>
                    <a:pt x="906560" y="151167"/>
                  </a:cubicBezTo>
                  <a:lnTo>
                    <a:pt x="906560" y="759480"/>
                  </a:lnTo>
                  <a:cubicBezTo>
                    <a:pt x="906560" y="762204"/>
                    <a:pt x="908768" y="764412"/>
                    <a:pt x="911492" y="764412"/>
                  </a:cubicBezTo>
                  <a:lnTo>
                    <a:pt x="941619" y="764412"/>
                  </a:lnTo>
                  <a:cubicBezTo>
                    <a:pt x="944343" y="764412"/>
                    <a:pt x="946551" y="762204"/>
                    <a:pt x="946551" y="759480"/>
                  </a:cubicBezTo>
                  <a:lnTo>
                    <a:pt x="946551" y="151167"/>
                  </a:lnTo>
                  <a:close/>
                </a:path>
              </a:pathLst>
            </a:custGeom>
            <a:grpFill/>
            <a:ln w="44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-form: Shape 5">
              <a:extLst>
                <a:ext uri="{FF2B5EF4-FFF2-40B4-BE49-F238E27FC236}">
                  <a16:creationId xmlns:a16="http://schemas.microsoft.com/office/drawing/2014/main" id="{C67D0705-872F-0277-0164-07E2A69C39E3}"/>
                </a:ext>
              </a:extLst>
            </p:cNvPr>
            <p:cNvSpPr/>
            <p:nvPr/>
          </p:nvSpPr>
          <p:spPr>
            <a:xfrm>
              <a:off x="9285377" y="4988357"/>
              <a:ext cx="417155" cy="421597"/>
            </a:xfrm>
            <a:custGeom>
              <a:avLst/>
              <a:gdLst>
                <a:gd name="connsiteX0" fmla="*/ 206002 w 417155"/>
                <a:gd name="connsiteY0" fmla="*/ 421582 h 421597"/>
                <a:gd name="connsiteX1" fmla="*/ 16 w 417155"/>
                <a:gd name="connsiteY1" fmla="*/ 208251 h 421597"/>
                <a:gd name="connsiteX2" fmla="*/ 211153 w 417155"/>
                <a:gd name="connsiteY2" fmla="*/ 16 h 421597"/>
                <a:gd name="connsiteX3" fmla="*/ 417139 w 417155"/>
                <a:gd name="connsiteY3" fmla="*/ 213347 h 421597"/>
                <a:gd name="connsiteX4" fmla="*/ 206002 w 417155"/>
                <a:gd name="connsiteY4" fmla="*/ 421582 h 421597"/>
                <a:gd name="connsiteX5" fmla="*/ 208907 w 417155"/>
                <a:gd name="connsiteY5" fmla="*/ 399424 h 421597"/>
                <a:gd name="connsiteX6" fmla="*/ 394937 w 417155"/>
                <a:gd name="connsiteY6" fmla="*/ 210474 h 421597"/>
                <a:gd name="connsiteX7" fmla="*/ 208249 w 417155"/>
                <a:gd name="connsiteY7" fmla="*/ 22173 h 421597"/>
                <a:gd name="connsiteX8" fmla="*/ 22219 w 417155"/>
                <a:gd name="connsiteY8" fmla="*/ 211124 h 421597"/>
                <a:gd name="connsiteX9" fmla="*/ 208907 w 417155"/>
                <a:gd name="connsiteY9" fmla="*/ 399424 h 421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7155" h="421597">
                  <a:moveTo>
                    <a:pt x="206002" y="421582"/>
                  </a:moveTo>
                  <a:cubicBezTo>
                    <a:pt x="90817" y="420175"/>
                    <a:pt x="-1406" y="324663"/>
                    <a:pt x="16" y="208251"/>
                  </a:cubicBezTo>
                  <a:cubicBezTo>
                    <a:pt x="1439" y="91838"/>
                    <a:pt x="95968" y="-1392"/>
                    <a:pt x="211153" y="16"/>
                  </a:cubicBezTo>
                  <a:cubicBezTo>
                    <a:pt x="326339" y="1423"/>
                    <a:pt x="418562" y="96935"/>
                    <a:pt x="417139" y="213347"/>
                  </a:cubicBezTo>
                  <a:cubicBezTo>
                    <a:pt x="415717" y="329759"/>
                    <a:pt x="321188" y="422989"/>
                    <a:pt x="206002" y="421582"/>
                  </a:cubicBezTo>
                  <a:close/>
                  <a:moveTo>
                    <a:pt x="208907" y="399424"/>
                  </a:moveTo>
                  <a:cubicBezTo>
                    <a:pt x="311831" y="399244"/>
                    <a:pt x="395119" y="314648"/>
                    <a:pt x="394937" y="210474"/>
                  </a:cubicBezTo>
                  <a:cubicBezTo>
                    <a:pt x="394755" y="106299"/>
                    <a:pt x="311172" y="21994"/>
                    <a:pt x="208249" y="22173"/>
                  </a:cubicBezTo>
                  <a:cubicBezTo>
                    <a:pt x="105325" y="22353"/>
                    <a:pt x="22037" y="106949"/>
                    <a:pt x="22219" y="211124"/>
                  </a:cubicBezTo>
                  <a:cubicBezTo>
                    <a:pt x="22400" y="315299"/>
                    <a:pt x="105984" y="399604"/>
                    <a:pt x="208907" y="399424"/>
                  </a:cubicBezTo>
                  <a:close/>
                </a:path>
              </a:pathLst>
            </a:custGeom>
            <a:grpFill/>
            <a:ln w="44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-form: Shape 6">
              <a:extLst>
                <a:ext uri="{FF2B5EF4-FFF2-40B4-BE49-F238E27FC236}">
                  <a16:creationId xmlns:a16="http://schemas.microsoft.com/office/drawing/2014/main" id="{9FE00028-B9F4-250B-6E57-73A22BF5E73C}"/>
                </a:ext>
              </a:extLst>
            </p:cNvPr>
            <p:cNvSpPr/>
            <p:nvPr/>
          </p:nvSpPr>
          <p:spPr>
            <a:xfrm>
              <a:off x="9436164" y="5037235"/>
              <a:ext cx="115581" cy="97489"/>
            </a:xfrm>
            <a:custGeom>
              <a:avLst/>
              <a:gdLst>
                <a:gd name="connsiteX0" fmla="*/ 57791 w 115581"/>
                <a:gd name="connsiteY0" fmla="*/ 0 h 97489"/>
                <a:gd name="connsiteX1" fmla="*/ 108580 w 115581"/>
                <a:gd name="connsiteY1" fmla="*/ 8132 h 97489"/>
                <a:gd name="connsiteX2" fmla="*/ 115031 w 115581"/>
                <a:gd name="connsiteY2" fmla="*/ 21237 h 97489"/>
                <a:gd name="connsiteX3" fmla="*/ 114623 w 115581"/>
                <a:gd name="connsiteY3" fmla="*/ 22262 h 97489"/>
                <a:gd name="connsiteX4" fmla="*/ 83119 w 115581"/>
                <a:gd name="connsiteY4" fmla="*/ 90425 h 97489"/>
                <a:gd name="connsiteX5" fmla="*/ 73609 w 115581"/>
                <a:gd name="connsiteY5" fmla="*/ 97046 h 97489"/>
                <a:gd name="connsiteX6" fmla="*/ 57791 w 115581"/>
                <a:gd name="connsiteY6" fmla="*/ 97490 h 97489"/>
                <a:gd name="connsiteX7" fmla="*/ 41927 w 115581"/>
                <a:gd name="connsiteY7" fmla="*/ 97046 h 97489"/>
                <a:gd name="connsiteX8" fmla="*/ 32463 w 115581"/>
                <a:gd name="connsiteY8" fmla="*/ 90425 h 97489"/>
                <a:gd name="connsiteX9" fmla="*/ 958 w 115581"/>
                <a:gd name="connsiteY9" fmla="*/ 22217 h 97489"/>
                <a:gd name="connsiteX10" fmla="*/ 5981 w 115581"/>
                <a:gd name="connsiteY10" fmla="*/ 8494 h 97489"/>
                <a:gd name="connsiteX11" fmla="*/ 7002 w 115581"/>
                <a:gd name="connsiteY11" fmla="*/ 8087 h 97489"/>
                <a:gd name="connsiteX12" fmla="*/ 57791 w 115581"/>
                <a:gd name="connsiteY12" fmla="*/ 0 h 97489"/>
                <a:gd name="connsiteX13" fmla="*/ 57879 w 115581"/>
                <a:gd name="connsiteY13" fmla="*/ 22484 h 97489"/>
                <a:gd name="connsiteX14" fmla="*/ 29263 w 115581"/>
                <a:gd name="connsiteY14" fmla="*/ 25239 h 97489"/>
                <a:gd name="connsiteX15" fmla="*/ 28030 w 115581"/>
                <a:gd name="connsiteY15" fmla="*/ 26984 h 97489"/>
                <a:gd name="connsiteX16" fmla="*/ 28153 w 115581"/>
                <a:gd name="connsiteY16" fmla="*/ 27372 h 97489"/>
                <a:gd name="connsiteX17" fmla="*/ 48459 w 115581"/>
                <a:gd name="connsiteY17" fmla="*/ 72740 h 97489"/>
                <a:gd name="connsiteX18" fmla="*/ 51836 w 115581"/>
                <a:gd name="connsiteY18" fmla="*/ 75184 h 97489"/>
                <a:gd name="connsiteX19" fmla="*/ 57746 w 115581"/>
                <a:gd name="connsiteY19" fmla="*/ 75450 h 97489"/>
                <a:gd name="connsiteX20" fmla="*/ 63700 w 115581"/>
                <a:gd name="connsiteY20" fmla="*/ 75228 h 97489"/>
                <a:gd name="connsiteX21" fmla="*/ 67078 w 115581"/>
                <a:gd name="connsiteY21" fmla="*/ 72784 h 97489"/>
                <a:gd name="connsiteX22" fmla="*/ 87562 w 115581"/>
                <a:gd name="connsiteY22" fmla="*/ 27505 h 97489"/>
                <a:gd name="connsiteX23" fmla="*/ 86839 w 115581"/>
                <a:gd name="connsiteY23" fmla="*/ 25495 h 97489"/>
                <a:gd name="connsiteX24" fmla="*/ 86451 w 115581"/>
                <a:gd name="connsiteY24" fmla="*/ 25372 h 97489"/>
                <a:gd name="connsiteX25" fmla="*/ 57879 w 115581"/>
                <a:gd name="connsiteY25" fmla="*/ 22484 h 97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581" h="97489">
                  <a:moveTo>
                    <a:pt x="57791" y="0"/>
                  </a:moveTo>
                  <a:cubicBezTo>
                    <a:pt x="75772" y="0"/>
                    <a:pt x="92702" y="2711"/>
                    <a:pt x="108580" y="8132"/>
                  </a:cubicBezTo>
                  <a:cubicBezTo>
                    <a:pt x="113974" y="9953"/>
                    <a:pt x="116863" y="15820"/>
                    <a:pt x="115031" y="21237"/>
                  </a:cubicBezTo>
                  <a:cubicBezTo>
                    <a:pt x="114913" y="21585"/>
                    <a:pt x="114777" y="21928"/>
                    <a:pt x="114623" y="22262"/>
                  </a:cubicBezTo>
                  <a:lnTo>
                    <a:pt x="83119" y="90425"/>
                  </a:lnTo>
                  <a:cubicBezTo>
                    <a:pt x="81362" y="94184"/>
                    <a:pt x="77732" y="96712"/>
                    <a:pt x="73609" y="97046"/>
                  </a:cubicBezTo>
                  <a:cubicBezTo>
                    <a:pt x="69907" y="97342"/>
                    <a:pt x="64634" y="97490"/>
                    <a:pt x="57791" y="97490"/>
                  </a:cubicBezTo>
                  <a:cubicBezTo>
                    <a:pt x="50948" y="97490"/>
                    <a:pt x="45660" y="97342"/>
                    <a:pt x="41927" y="97046"/>
                  </a:cubicBezTo>
                  <a:cubicBezTo>
                    <a:pt x="37821" y="96696"/>
                    <a:pt x="34212" y="94171"/>
                    <a:pt x="32463" y="90425"/>
                  </a:cubicBezTo>
                  <a:lnTo>
                    <a:pt x="958" y="22217"/>
                  </a:lnTo>
                  <a:cubicBezTo>
                    <a:pt x="-1437" y="17025"/>
                    <a:pt x="812" y="10881"/>
                    <a:pt x="5981" y="8494"/>
                  </a:cubicBezTo>
                  <a:cubicBezTo>
                    <a:pt x="6314" y="8340"/>
                    <a:pt x="6654" y="8204"/>
                    <a:pt x="7002" y="8087"/>
                  </a:cubicBezTo>
                  <a:cubicBezTo>
                    <a:pt x="22880" y="2696"/>
                    <a:pt x="39809" y="0"/>
                    <a:pt x="57791" y="0"/>
                  </a:cubicBezTo>
                  <a:close/>
                  <a:moveTo>
                    <a:pt x="57879" y="22484"/>
                  </a:moveTo>
                  <a:cubicBezTo>
                    <a:pt x="48282" y="22454"/>
                    <a:pt x="38743" y="23373"/>
                    <a:pt x="29263" y="25239"/>
                  </a:cubicBezTo>
                  <a:cubicBezTo>
                    <a:pt x="28441" y="25380"/>
                    <a:pt x="27889" y="26161"/>
                    <a:pt x="28030" y="26984"/>
                  </a:cubicBezTo>
                  <a:cubicBezTo>
                    <a:pt x="28053" y="27118"/>
                    <a:pt x="28095" y="27249"/>
                    <a:pt x="28153" y="27372"/>
                  </a:cubicBezTo>
                  <a:lnTo>
                    <a:pt x="48459" y="72740"/>
                  </a:lnTo>
                  <a:cubicBezTo>
                    <a:pt x="49091" y="74109"/>
                    <a:pt x="50376" y="75039"/>
                    <a:pt x="51836" y="75184"/>
                  </a:cubicBezTo>
                  <a:cubicBezTo>
                    <a:pt x="53288" y="75361"/>
                    <a:pt x="55258" y="75450"/>
                    <a:pt x="57746" y="75450"/>
                  </a:cubicBezTo>
                  <a:cubicBezTo>
                    <a:pt x="60264" y="75450"/>
                    <a:pt x="62249" y="75376"/>
                    <a:pt x="63700" y="75228"/>
                  </a:cubicBezTo>
                  <a:cubicBezTo>
                    <a:pt x="65161" y="75083"/>
                    <a:pt x="66445" y="74153"/>
                    <a:pt x="67078" y="72784"/>
                  </a:cubicBezTo>
                  <a:lnTo>
                    <a:pt x="87562" y="27505"/>
                  </a:lnTo>
                  <a:cubicBezTo>
                    <a:pt x="87918" y="26750"/>
                    <a:pt x="87594" y="25850"/>
                    <a:pt x="86839" y="25495"/>
                  </a:cubicBezTo>
                  <a:cubicBezTo>
                    <a:pt x="86716" y="25436"/>
                    <a:pt x="86585" y="25395"/>
                    <a:pt x="86451" y="25372"/>
                  </a:cubicBezTo>
                  <a:cubicBezTo>
                    <a:pt x="76972" y="23476"/>
                    <a:pt x="67448" y="22514"/>
                    <a:pt x="57879" y="22484"/>
                  </a:cubicBezTo>
                  <a:close/>
                </a:path>
              </a:pathLst>
            </a:custGeom>
            <a:grpFill/>
            <a:ln w="44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-form: Shape 7">
              <a:extLst>
                <a:ext uri="{FF2B5EF4-FFF2-40B4-BE49-F238E27FC236}">
                  <a16:creationId xmlns:a16="http://schemas.microsoft.com/office/drawing/2014/main" id="{3750B40E-047E-0445-4BDD-DB9BC1575E5B}"/>
                </a:ext>
              </a:extLst>
            </p:cNvPr>
            <p:cNvSpPr/>
            <p:nvPr/>
          </p:nvSpPr>
          <p:spPr>
            <a:xfrm>
              <a:off x="9450008" y="5157431"/>
              <a:ext cx="83448" cy="83448"/>
            </a:xfrm>
            <a:custGeom>
              <a:avLst/>
              <a:gdLst>
                <a:gd name="connsiteX0" fmla="*/ 83449 w 83448"/>
                <a:gd name="connsiteY0" fmla="*/ 41724 h 83448"/>
                <a:gd name="connsiteX1" fmla="*/ 41724 w 83448"/>
                <a:gd name="connsiteY1" fmla="*/ 83449 h 83448"/>
                <a:gd name="connsiteX2" fmla="*/ 0 w 83448"/>
                <a:gd name="connsiteY2" fmla="*/ 41724 h 83448"/>
                <a:gd name="connsiteX3" fmla="*/ 41724 w 83448"/>
                <a:gd name="connsiteY3" fmla="*/ 0 h 83448"/>
                <a:gd name="connsiteX4" fmla="*/ 83449 w 83448"/>
                <a:gd name="connsiteY4" fmla="*/ 41724 h 83448"/>
                <a:gd name="connsiteX5" fmla="*/ 61320 w 83448"/>
                <a:gd name="connsiteY5" fmla="*/ 41724 h 83448"/>
                <a:gd name="connsiteX6" fmla="*/ 41724 w 83448"/>
                <a:gd name="connsiteY6" fmla="*/ 22129 h 83448"/>
                <a:gd name="connsiteX7" fmla="*/ 22129 w 83448"/>
                <a:gd name="connsiteY7" fmla="*/ 41724 h 83448"/>
                <a:gd name="connsiteX8" fmla="*/ 41724 w 83448"/>
                <a:gd name="connsiteY8" fmla="*/ 61320 h 83448"/>
                <a:gd name="connsiteX9" fmla="*/ 61320 w 83448"/>
                <a:gd name="connsiteY9" fmla="*/ 41724 h 83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448" h="83448">
                  <a:moveTo>
                    <a:pt x="83449" y="41724"/>
                  </a:moveTo>
                  <a:cubicBezTo>
                    <a:pt x="83449" y="64768"/>
                    <a:pt x="64768" y="83449"/>
                    <a:pt x="41724" y="83449"/>
                  </a:cubicBezTo>
                  <a:cubicBezTo>
                    <a:pt x="18681" y="83449"/>
                    <a:pt x="0" y="64768"/>
                    <a:pt x="0" y="41724"/>
                  </a:cubicBezTo>
                  <a:cubicBezTo>
                    <a:pt x="0" y="18681"/>
                    <a:pt x="18681" y="0"/>
                    <a:pt x="41724" y="0"/>
                  </a:cubicBezTo>
                  <a:cubicBezTo>
                    <a:pt x="64768" y="0"/>
                    <a:pt x="83449" y="18681"/>
                    <a:pt x="83449" y="41724"/>
                  </a:cubicBezTo>
                  <a:close/>
                  <a:moveTo>
                    <a:pt x="61320" y="41724"/>
                  </a:moveTo>
                  <a:cubicBezTo>
                    <a:pt x="61320" y="30902"/>
                    <a:pt x="52547" y="22129"/>
                    <a:pt x="41724" y="22129"/>
                  </a:cubicBezTo>
                  <a:cubicBezTo>
                    <a:pt x="30902" y="22129"/>
                    <a:pt x="22129" y="30902"/>
                    <a:pt x="22129" y="41724"/>
                  </a:cubicBezTo>
                  <a:cubicBezTo>
                    <a:pt x="22129" y="52547"/>
                    <a:pt x="30902" y="61320"/>
                    <a:pt x="41724" y="61320"/>
                  </a:cubicBezTo>
                  <a:cubicBezTo>
                    <a:pt x="52547" y="61320"/>
                    <a:pt x="61320" y="52547"/>
                    <a:pt x="61320" y="41724"/>
                  </a:cubicBezTo>
                  <a:close/>
                </a:path>
              </a:pathLst>
            </a:custGeom>
            <a:grpFill/>
            <a:ln w="44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-form: Shape 8">
              <a:extLst>
                <a:ext uri="{FF2B5EF4-FFF2-40B4-BE49-F238E27FC236}">
                  <a16:creationId xmlns:a16="http://schemas.microsoft.com/office/drawing/2014/main" id="{186AA115-A438-7169-DFFC-608263581696}"/>
                </a:ext>
              </a:extLst>
            </p:cNvPr>
            <p:cNvSpPr/>
            <p:nvPr/>
          </p:nvSpPr>
          <p:spPr>
            <a:xfrm>
              <a:off x="9334548" y="5210606"/>
              <a:ext cx="110206" cy="110509"/>
            </a:xfrm>
            <a:custGeom>
              <a:avLst/>
              <a:gdLst>
                <a:gd name="connsiteX0" fmla="*/ 70848 w 110206"/>
                <a:gd name="connsiteY0" fmla="*/ 97637 h 110509"/>
                <a:gd name="connsiteX1" fmla="*/ 53830 w 110206"/>
                <a:gd name="connsiteY1" fmla="*/ 110479 h 110509"/>
                <a:gd name="connsiteX2" fmla="*/ 50053 w 110206"/>
                <a:gd name="connsiteY2" fmla="*/ 108879 h 110509"/>
                <a:gd name="connsiteX3" fmla="*/ 8417 w 110206"/>
                <a:gd name="connsiteY3" fmla="*/ 51336 h 110509"/>
                <a:gd name="connsiteX4" fmla="*/ 2996 w 110206"/>
                <a:gd name="connsiteY4" fmla="*/ 36273 h 110509"/>
                <a:gd name="connsiteX5" fmla="*/ 10106 w 110206"/>
                <a:gd name="connsiteY5" fmla="*/ 9301 h 110509"/>
                <a:gd name="connsiteX6" fmla="*/ 80890 w 110206"/>
                <a:gd name="connsiteY6" fmla="*/ 147 h 110509"/>
                <a:gd name="connsiteX7" fmla="*/ 95421 w 110206"/>
                <a:gd name="connsiteY7" fmla="*/ 6901 h 110509"/>
                <a:gd name="connsiteX8" fmla="*/ 108884 w 110206"/>
                <a:gd name="connsiteY8" fmla="*/ 32718 h 110509"/>
                <a:gd name="connsiteX9" fmla="*/ 107862 w 110206"/>
                <a:gd name="connsiteY9" fmla="*/ 45693 h 110509"/>
                <a:gd name="connsiteX10" fmla="*/ 70848 w 110206"/>
                <a:gd name="connsiteY10" fmla="*/ 97637 h 110509"/>
                <a:gd name="connsiteX11" fmla="*/ 36633 w 110206"/>
                <a:gd name="connsiteY11" fmla="*/ 57335 h 110509"/>
                <a:gd name="connsiteX12" fmla="*/ 53830 w 110206"/>
                <a:gd name="connsiteY12" fmla="*/ 80619 h 110509"/>
                <a:gd name="connsiteX13" fmla="*/ 56027 w 110206"/>
                <a:gd name="connsiteY13" fmla="*/ 80711 h 110509"/>
                <a:gd name="connsiteX14" fmla="*/ 56229 w 110206"/>
                <a:gd name="connsiteY14" fmla="*/ 80485 h 110509"/>
                <a:gd name="connsiteX15" fmla="*/ 84934 w 110206"/>
                <a:gd name="connsiteY15" fmla="*/ 39428 h 110509"/>
                <a:gd name="connsiteX16" fmla="*/ 85334 w 110206"/>
                <a:gd name="connsiteY16" fmla="*/ 35251 h 110509"/>
                <a:gd name="connsiteX17" fmla="*/ 82490 w 110206"/>
                <a:gd name="connsiteY17" fmla="*/ 30007 h 110509"/>
                <a:gd name="connsiteX18" fmla="*/ 79202 w 110206"/>
                <a:gd name="connsiteY18" fmla="*/ 24986 h 110509"/>
                <a:gd name="connsiteX19" fmla="*/ 75336 w 110206"/>
                <a:gd name="connsiteY19" fmla="*/ 23342 h 110509"/>
                <a:gd name="connsiteX20" fmla="*/ 25569 w 110206"/>
                <a:gd name="connsiteY20" fmla="*/ 29074 h 110509"/>
                <a:gd name="connsiteX21" fmla="*/ 24257 w 110206"/>
                <a:gd name="connsiteY21" fmla="*/ 30840 h 110509"/>
                <a:gd name="connsiteX22" fmla="*/ 24325 w 110206"/>
                <a:gd name="connsiteY22" fmla="*/ 31118 h 110509"/>
                <a:gd name="connsiteX23" fmla="*/ 36633 w 110206"/>
                <a:gd name="connsiteY23" fmla="*/ 57335 h 11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0206" h="110509">
                  <a:moveTo>
                    <a:pt x="70848" y="97637"/>
                  </a:moveTo>
                  <a:cubicBezTo>
                    <a:pt x="65916" y="104480"/>
                    <a:pt x="63961" y="111012"/>
                    <a:pt x="53830" y="110479"/>
                  </a:cubicBezTo>
                  <a:cubicBezTo>
                    <a:pt x="52426" y="110420"/>
                    <a:pt x="51085" y="109852"/>
                    <a:pt x="50053" y="108879"/>
                  </a:cubicBezTo>
                  <a:cubicBezTo>
                    <a:pt x="32812" y="92794"/>
                    <a:pt x="18933" y="73613"/>
                    <a:pt x="8417" y="51336"/>
                  </a:cubicBezTo>
                  <a:cubicBezTo>
                    <a:pt x="6344" y="46952"/>
                    <a:pt x="4537" y="41931"/>
                    <a:pt x="2996" y="36273"/>
                  </a:cubicBezTo>
                  <a:cubicBezTo>
                    <a:pt x="152" y="25697"/>
                    <a:pt x="-4424" y="11478"/>
                    <a:pt x="10106" y="9301"/>
                  </a:cubicBezTo>
                  <a:cubicBezTo>
                    <a:pt x="32057" y="6013"/>
                    <a:pt x="55651" y="2961"/>
                    <a:pt x="80890" y="147"/>
                  </a:cubicBezTo>
                  <a:cubicBezTo>
                    <a:pt x="87793" y="-623"/>
                    <a:pt x="92636" y="1628"/>
                    <a:pt x="95421" y="6901"/>
                  </a:cubicBezTo>
                  <a:cubicBezTo>
                    <a:pt x="101879" y="19076"/>
                    <a:pt x="106366" y="27682"/>
                    <a:pt x="108884" y="32718"/>
                  </a:cubicBezTo>
                  <a:cubicBezTo>
                    <a:pt x="110962" y="36901"/>
                    <a:pt x="110570" y="41887"/>
                    <a:pt x="107862" y="45693"/>
                  </a:cubicBezTo>
                  <a:cubicBezTo>
                    <a:pt x="94502" y="64652"/>
                    <a:pt x="82164" y="81967"/>
                    <a:pt x="70848" y="97637"/>
                  </a:cubicBezTo>
                  <a:close/>
                  <a:moveTo>
                    <a:pt x="36633" y="57335"/>
                  </a:moveTo>
                  <a:cubicBezTo>
                    <a:pt x="41551" y="65629"/>
                    <a:pt x="47283" y="73391"/>
                    <a:pt x="53830" y="80619"/>
                  </a:cubicBezTo>
                  <a:cubicBezTo>
                    <a:pt x="54411" y="81251"/>
                    <a:pt x="55395" y="81292"/>
                    <a:pt x="56027" y="80711"/>
                  </a:cubicBezTo>
                  <a:cubicBezTo>
                    <a:pt x="56102" y="80643"/>
                    <a:pt x="56169" y="80567"/>
                    <a:pt x="56229" y="80485"/>
                  </a:cubicBezTo>
                  <a:lnTo>
                    <a:pt x="84934" y="39428"/>
                  </a:lnTo>
                  <a:cubicBezTo>
                    <a:pt x="85800" y="38189"/>
                    <a:pt x="85952" y="36600"/>
                    <a:pt x="85334" y="35251"/>
                  </a:cubicBezTo>
                  <a:cubicBezTo>
                    <a:pt x="84712" y="33918"/>
                    <a:pt x="83764" y="32170"/>
                    <a:pt x="82490" y="30007"/>
                  </a:cubicBezTo>
                  <a:cubicBezTo>
                    <a:pt x="81187" y="27845"/>
                    <a:pt x="80091" y="26171"/>
                    <a:pt x="79202" y="24986"/>
                  </a:cubicBezTo>
                  <a:cubicBezTo>
                    <a:pt x="78311" y="23797"/>
                    <a:pt x="76840" y="23171"/>
                    <a:pt x="75336" y="23342"/>
                  </a:cubicBezTo>
                  <a:lnTo>
                    <a:pt x="25569" y="29074"/>
                  </a:lnTo>
                  <a:cubicBezTo>
                    <a:pt x="24719" y="29199"/>
                    <a:pt x="24132" y="29990"/>
                    <a:pt x="24257" y="30840"/>
                  </a:cubicBezTo>
                  <a:cubicBezTo>
                    <a:pt x="24271" y="30934"/>
                    <a:pt x="24294" y="31028"/>
                    <a:pt x="24325" y="31118"/>
                  </a:cubicBezTo>
                  <a:cubicBezTo>
                    <a:pt x="27583" y="40302"/>
                    <a:pt x="31686" y="49040"/>
                    <a:pt x="36633" y="57335"/>
                  </a:cubicBezTo>
                  <a:close/>
                </a:path>
              </a:pathLst>
            </a:custGeom>
            <a:grpFill/>
            <a:ln w="44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-form: Shape 9">
              <a:extLst>
                <a:ext uri="{FF2B5EF4-FFF2-40B4-BE49-F238E27FC236}">
                  <a16:creationId xmlns:a16="http://schemas.microsoft.com/office/drawing/2014/main" id="{94C274F4-BF07-F81E-9757-F7149151B446}"/>
                </a:ext>
              </a:extLst>
            </p:cNvPr>
            <p:cNvSpPr/>
            <p:nvPr/>
          </p:nvSpPr>
          <p:spPr>
            <a:xfrm>
              <a:off x="9538208" y="5211073"/>
              <a:ext cx="111363" cy="109546"/>
            </a:xfrm>
            <a:custGeom>
              <a:avLst/>
              <a:gdLst>
                <a:gd name="connsiteX0" fmla="*/ 93006 w 111363"/>
                <a:gd name="connsiteY0" fmla="*/ 67843 h 109546"/>
                <a:gd name="connsiteX1" fmla="*/ 92295 w 111363"/>
                <a:gd name="connsiteY1" fmla="*/ 69132 h 109546"/>
                <a:gd name="connsiteX2" fmla="*/ 59858 w 111363"/>
                <a:gd name="connsiteY2" fmla="*/ 107435 h 109546"/>
                <a:gd name="connsiteX3" fmla="*/ 46172 w 111363"/>
                <a:gd name="connsiteY3" fmla="*/ 104902 h 109546"/>
                <a:gd name="connsiteX4" fmla="*/ 2581 w 111363"/>
                <a:gd name="connsiteY4" fmla="*/ 45315 h 109546"/>
                <a:gd name="connsiteX5" fmla="*/ 8802 w 111363"/>
                <a:gd name="connsiteY5" fmla="*/ 18565 h 109546"/>
                <a:gd name="connsiteX6" fmla="*/ 29020 w 111363"/>
                <a:gd name="connsiteY6" fmla="*/ 80 h 109546"/>
                <a:gd name="connsiteX7" fmla="*/ 102337 w 111363"/>
                <a:gd name="connsiteY7" fmla="*/ 8878 h 109546"/>
                <a:gd name="connsiteX8" fmla="*/ 111269 w 111363"/>
                <a:gd name="connsiteY8" fmla="*/ 19587 h 109546"/>
                <a:gd name="connsiteX9" fmla="*/ 93761 w 111363"/>
                <a:gd name="connsiteY9" fmla="*/ 66643 h 109546"/>
                <a:gd name="connsiteX10" fmla="*/ 93006 w 111363"/>
                <a:gd name="connsiteY10" fmla="*/ 67843 h 109546"/>
                <a:gd name="connsiteX11" fmla="*/ 74210 w 111363"/>
                <a:gd name="connsiteY11" fmla="*/ 56868 h 109546"/>
                <a:gd name="connsiteX12" fmla="*/ 86430 w 111363"/>
                <a:gd name="connsiteY12" fmla="*/ 30562 h 109546"/>
                <a:gd name="connsiteX13" fmla="*/ 85464 w 111363"/>
                <a:gd name="connsiteY13" fmla="*/ 28586 h 109546"/>
                <a:gd name="connsiteX14" fmla="*/ 85186 w 111363"/>
                <a:gd name="connsiteY14" fmla="*/ 28518 h 109546"/>
                <a:gd name="connsiteX15" fmla="*/ 35330 w 111363"/>
                <a:gd name="connsiteY15" fmla="*/ 22964 h 109546"/>
                <a:gd name="connsiteX16" fmla="*/ 31464 w 111363"/>
                <a:gd name="connsiteY16" fmla="*/ 24608 h 109546"/>
                <a:gd name="connsiteX17" fmla="*/ 28220 w 111363"/>
                <a:gd name="connsiteY17" fmla="*/ 29629 h 109546"/>
                <a:gd name="connsiteX18" fmla="*/ 25376 w 111363"/>
                <a:gd name="connsiteY18" fmla="*/ 34917 h 109546"/>
                <a:gd name="connsiteX19" fmla="*/ 25776 w 111363"/>
                <a:gd name="connsiteY19" fmla="*/ 39094 h 109546"/>
                <a:gd name="connsiteX20" fmla="*/ 54659 w 111363"/>
                <a:gd name="connsiteY20" fmla="*/ 80107 h 109546"/>
                <a:gd name="connsiteX21" fmla="*/ 56832 w 111363"/>
                <a:gd name="connsiteY21" fmla="*/ 80443 h 109546"/>
                <a:gd name="connsiteX22" fmla="*/ 57058 w 111363"/>
                <a:gd name="connsiteY22" fmla="*/ 80240 h 109546"/>
                <a:gd name="connsiteX23" fmla="*/ 74210 w 111363"/>
                <a:gd name="connsiteY23" fmla="*/ 56868 h 10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1363" h="109546">
                  <a:moveTo>
                    <a:pt x="93006" y="67843"/>
                  </a:moveTo>
                  <a:cubicBezTo>
                    <a:pt x="92739" y="68317"/>
                    <a:pt x="92502" y="68747"/>
                    <a:pt x="92295" y="69132"/>
                  </a:cubicBezTo>
                  <a:cubicBezTo>
                    <a:pt x="83704" y="85276"/>
                    <a:pt x="72892" y="98044"/>
                    <a:pt x="59858" y="107435"/>
                  </a:cubicBezTo>
                  <a:cubicBezTo>
                    <a:pt x="55029" y="110930"/>
                    <a:pt x="50467" y="110086"/>
                    <a:pt x="46172" y="104902"/>
                  </a:cubicBezTo>
                  <a:cubicBezTo>
                    <a:pt x="37611" y="94474"/>
                    <a:pt x="23080" y="74612"/>
                    <a:pt x="2581" y="45315"/>
                  </a:cubicBezTo>
                  <a:cubicBezTo>
                    <a:pt x="-4040" y="35850"/>
                    <a:pt x="3559" y="27541"/>
                    <a:pt x="8802" y="18565"/>
                  </a:cubicBezTo>
                  <a:cubicBezTo>
                    <a:pt x="14045" y="9634"/>
                    <a:pt x="17556" y="-1031"/>
                    <a:pt x="29020" y="80"/>
                  </a:cubicBezTo>
                  <a:cubicBezTo>
                    <a:pt x="64627" y="3576"/>
                    <a:pt x="89066" y="6508"/>
                    <a:pt x="102337" y="8878"/>
                  </a:cubicBezTo>
                  <a:cubicBezTo>
                    <a:pt x="108973" y="10093"/>
                    <a:pt x="111950" y="13662"/>
                    <a:pt x="111269" y="19587"/>
                  </a:cubicBezTo>
                  <a:cubicBezTo>
                    <a:pt x="109462" y="35524"/>
                    <a:pt x="103626" y="51210"/>
                    <a:pt x="93761" y="66643"/>
                  </a:cubicBezTo>
                  <a:cubicBezTo>
                    <a:pt x="93524" y="66999"/>
                    <a:pt x="93273" y="67399"/>
                    <a:pt x="93006" y="67843"/>
                  </a:cubicBezTo>
                  <a:close/>
                  <a:moveTo>
                    <a:pt x="74210" y="56868"/>
                  </a:moveTo>
                  <a:cubicBezTo>
                    <a:pt x="79128" y="48544"/>
                    <a:pt x="83201" y="39775"/>
                    <a:pt x="86430" y="30562"/>
                  </a:cubicBezTo>
                  <a:cubicBezTo>
                    <a:pt x="86709" y="29750"/>
                    <a:pt x="86277" y="28865"/>
                    <a:pt x="85464" y="28586"/>
                  </a:cubicBezTo>
                  <a:cubicBezTo>
                    <a:pt x="85374" y="28555"/>
                    <a:pt x="85280" y="28532"/>
                    <a:pt x="85186" y="28518"/>
                  </a:cubicBezTo>
                  <a:lnTo>
                    <a:pt x="35330" y="22964"/>
                  </a:lnTo>
                  <a:cubicBezTo>
                    <a:pt x="33826" y="22793"/>
                    <a:pt x="32355" y="23419"/>
                    <a:pt x="31464" y="24608"/>
                  </a:cubicBezTo>
                  <a:cubicBezTo>
                    <a:pt x="30575" y="25793"/>
                    <a:pt x="29494" y="27467"/>
                    <a:pt x="28220" y="29629"/>
                  </a:cubicBezTo>
                  <a:cubicBezTo>
                    <a:pt x="26946" y="31821"/>
                    <a:pt x="25998" y="33584"/>
                    <a:pt x="25376" y="34917"/>
                  </a:cubicBezTo>
                  <a:cubicBezTo>
                    <a:pt x="24758" y="36266"/>
                    <a:pt x="24910" y="37855"/>
                    <a:pt x="25776" y="39094"/>
                  </a:cubicBezTo>
                  <a:lnTo>
                    <a:pt x="54659" y="80107"/>
                  </a:lnTo>
                  <a:cubicBezTo>
                    <a:pt x="55166" y="80800"/>
                    <a:pt x="56140" y="80950"/>
                    <a:pt x="56832" y="80443"/>
                  </a:cubicBezTo>
                  <a:cubicBezTo>
                    <a:pt x="56914" y="80383"/>
                    <a:pt x="56990" y="80315"/>
                    <a:pt x="57058" y="80240"/>
                  </a:cubicBezTo>
                  <a:cubicBezTo>
                    <a:pt x="63575" y="72983"/>
                    <a:pt x="69293" y="65192"/>
                    <a:pt x="74210" y="56868"/>
                  </a:cubicBezTo>
                  <a:close/>
                </a:path>
              </a:pathLst>
            </a:custGeom>
            <a:grpFill/>
            <a:ln w="44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1" name="Pentagon 47 - 1">
            <a:extLst>
              <a:ext uri="{FF2B5EF4-FFF2-40B4-BE49-F238E27FC236}">
                <a16:creationId xmlns:a16="http://schemas.microsoft.com/office/drawing/2014/main" id="{EE2C0332-AB5B-23FB-227E-FDAAE5065F2E}"/>
              </a:ext>
            </a:extLst>
          </p:cNvPr>
          <p:cNvSpPr/>
          <p:nvPr/>
        </p:nvSpPr>
        <p:spPr bwMode="auto">
          <a:xfrm>
            <a:off x="5114752" y="4224964"/>
            <a:ext cx="684000" cy="68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800" b="1" ker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12" name="Pentagon 19 - 2">
            <a:extLst>
              <a:ext uri="{FF2B5EF4-FFF2-40B4-BE49-F238E27FC236}">
                <a16:creationId xmlns:a16="http://schemas.microsoft.com/office/drawing/2014/main" id="{CEE7D467-ED27-7D56-668E-7FCAF8DD6221}"/>
              </a:ext>
            </a:extLst>
          </p:cNvPr>
          <p:cNvSpPr/>
          <p:nvPr/>
        </p:nvSpPr>
        <p:spPr bwMode="auto">
          <a:xfrm>
            <a:off x="5114752" y="3354320"/>
            <a:ext cx="684000" cy="68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800" b="1" ker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13" name="Pentagon 19">
            <a:extLst>
              <a:ext uri="{FF2B5EF4-FFF2-40B4-BE49-F238E27FC236}">
                <a16:creationId xmlns:a16="http://schemas.microsoft.com/office/drawing/2014/main" id="{72935FE3-296C-F01F-6A4B-199EED14CC0C}"/>
              </a:ext>
            </a:extLst>
          </p:cNvPr>
          <p:cNvSpPr/>
          <p:nvPr/>
        </p:nvSpPr>
        <p:spPr bwMode="auto">
          <a:xfrm>
            <a:off x="5114752" y="5095608"/>
            <a:ext cx="684000" cy="68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800" b="1" ker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14" name="Pentagon 47">
            <a:extLst>
              <a:ext uri="{FF2B5EF4-FFF2-40B4-BE49-F238E27FC236}">
                <a16:creationId xmlns:a16="http://schemas.microsoft.com/office/drawing/2014/main" id="{574C3C3C-B0D2-7876-E7B8-AF7889BC1EE4}"/>
              </a:ext>
            </a:extLst>
          </p:cNvPr>
          <p:cNvSpPr/>
          <p:nvPr/>
        </p:nvSpPr>
        <p:spPr bwMode="auto">
          <a:xfrm>
            <a:off x="6382441" y="2477478"/>
            <a:ext cx="684000" cy="68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800" b="1" ker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</a:t>
            </a:r>
          </a:p>
        </p:txBody>
      </p:sp>
      <p:sp>
        <p:nvSpPr>
          <p:cNvPr id="115" name="Pentagon 19 - 1">
            <a:extLst>
              <a:ext uri="{FF2B5EF4-FFF2-40B4-BE49-F238E27FC236}">
                <a16:creationId xmlns:a16="http://schemas.microsoft.com/office/drawing/2014/main" id="{661B7522-D950-F218-7F04-0792DC4D8F3D}"/>
              </a:ext>
            </a:extLst>
          </p:cNvPr>
          <p:cNvSpPr/>
          <p:nvPr/>
        </p:nvSpPr>
        <p:spPr bwMode="auto">
          <a:xfrm>
            <a:off x="6382441" y="1606834"/>
            <a:ext cx="684000" cy="68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800" b="1" ker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</a:t>
            </a:r>
          </a:p>
        </p:txBody>
      </p:sp>
      <p:sp>
        <p:nvSpPr>
          <p:cNvPr id="116" name="Pentagon 47 - 1">
            <a:extLst>
              <a:ext uri="{FF2B5EF4-FFF2-40B4-BE49-F238E27FC236}">
                <a16:creationId xmlns:a16="http://schemas.microsoft.com/office/drawing/2014/main" id="{F2E096A9-24FE-35A3-982C-7C0AF8636B45}"/>
              </a:ext>
            </a:extLst>
          </p:cNvPr>
          <p:cNvSpPr/>
          <p:nvPr/>
        </p:nvSpPr>
        <p:spPr bwMode="auto">
          <a:xfrm>
            <a:off x="6382441" y="4218766"/>
            <a:ext cx="684000" cy="68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800" b="1" ker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</a:t>
            </a:r>
          </a:p>
        </p:txBody>
      </p:sp>
      <p:sp>
        <p:nvSpPr>
          <p:cNvPr id="117" name="Pentagon 19 - 2">
            <a:extLst>
              <a:ext uri="{FF2B5EF4-FFF2-40B4-BE49-F238E27FC236}">
                <a16:creationId xmlns:a16="http://schemas.microsoft.com/office/drawing/2014/main" id="{7666F12D-265D-2BF9-D2BC-68007D85297D}"/>
              </a:ext>
            </a:extLst>
          </p:cNvPr>
          <p:cNvSpPr/>
          <p:nvPr/>
        </p:nvSpPr>
        <p:spPr bwMode="auto">
          <a:xfrm>
            <a:off x="6382441" y="3348122"/>
            <a:ext cx="684000" cy="68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800" b="1" ker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8</a:t>
            </a:r>
          </a:p>
        </p:txBody>
      </p:sp>
      <p:sp>
        <p:nvSpPr>
          <p:cNvPr id="118" name="Pentagon 19">
            <a:extLst>
              <a:ext uri="{FF2B5EF4-FFF2-40B4-BE49-F238E27FC236}">
                <a16:creationId xmlns:a16="http://schemas.microsoft.com/office/drawing/2014/main" id="{1375ACD1-D980-2E67-B4F9-B6BD171CD306}"/>
              </a:ext>
            </a:extLst>
          </p:cNvPr>
          <p:cNvSpPr/>
          <p:nvPr/>
        </p:nvSpPr>
        <p:spPr bwMode="auto">
          <a:xfrm>
            <a:off x="6382441" y="5089410"/>
            <a:ext cx="684000" cy="68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800" b="1" ker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5" name="Rettangolo con angoli in alto arrotondati 24">
            <a:extLst>
              <a:ext uri="{FF2B5EF4-FFF2-40B4-BE49-F238E27FC236}">
                <a16:creationId xmlns:a16="http://schemas.microsoft.com/office/drawing/2014/main" id="{BBFB768D-118F-2509-8BE6-7E04022C280C}"/>
              </a:ext>
            </a:extLst>
          </p:cNvPr>
          <p:cNvSpPr/>
          <p:nvPr/>
        </p:nvSpPr>
        <p:spPr bwMode="auto">
          <a:xfrm>
            <a:off x="1261941" y="2480739"/>
            <a:ext cx="3673475" cy="2764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 b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ＭＳ Ｐゴシック" charset="-128"/>
              </a:rPr>
              <a:t>Tipologia dell’operazione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56E396D6-2383-05AE-00DC-456D40D3BAB3}"/>
              </a:ext>
            </a:extLst>
          </p:cNvPr>
          <p:cNvSpPr/>
          <p:nvPr/>
        </p:nvSpPr>
        <p:spPr bwMode="auto">
          <a:xfrm>
            <a:off x="388246" y="2776650"/>
            <a:ext cx="4547170" cy="55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algn="r" fontAlgn="base">
              <a:lnSpc>
                <a:spcPct val="90000"/>
              </a:lnSpc>
              <a:defRPr/>
            </a:pPr>
            <a:r>
              <a:rPr lang="it-IT" sz="14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ad esempio opere pubbliche, attività formative, aiuti di Stato, servizi.</a:t>
            </a:r>
          </a:p>
          <a:p>
            <a:pPr marL="0" marR="0" lvl="0" indent="0" algn="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ttangolo con angoli in alto arrotondati 27">
            <a:extLst>
              <a:ext uri="{FF2B5EF4-FFF2-40B4-BE49-F238E27FC236}">
                <a16:creationId xmlns:a16="http://schemas.microsoft.com/office/drawing/2014/main" id="{8EC990CD-10E0-8AC1-CF0C-51CCFEBD9A59}"/>
              </a:ext>
            </a:extLst>
          </p:cNvPr>
          <p:cNvSpPr/>
          <p:nvPr/>
        </p:nvSpPr>
        <p:spPr bwMode="auto">
          <a:xfrm>
            <a:off x="1261941" y="3379121"/>
            <a:ext cx="3673475" cy="2764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 b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ＭＳ Ｐゴシック" charset="-128"/>
              </a:rPr>
              <a:t>Valore finanziario</a:t>
            </a:r>
          </a:p>
        </p:txBody>
      </p:sp>
      <p:sp>
        <p:nvSpPr>
          <p:cNvPr id="29" name="Rectangle 30">
            <a:extLst>
              <a:ext uri="{FF2B5EF4-FFF2-40B4-BE49-F238E27FC236}">
                <a16:creationId xmlns:a16="http://schemas.microsoft.com/office/drawing/2014/main" id="{9A9ACF6B-0E2C-BCD3-6216-AC65B6F3CC63}"/>
              </a:ext>
            </a:extLst>
          </p:cNvPr>
          <p:cNvSpPr/>
          <p:nvPr/>
        </p:nvSpPr>
        <p:spPr bwMode="auto">
          <a:xfrm>
            <a:off x="388246" y="3675032"/>
            <a:ext cx="4547170" cy="55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lvl="0" algn="r" fontAlgn="base">
              <a:lnSpc>
                <a:spcPct val="90000"/>
              </a:lnSpc>
              <a:defRPr/>
            </a:pPr>
            <a:r>
              <a:rPr lang="it-IT" sz="14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considera ad esempio l’importo della domanda di rimborso, il valore dell’operazione.</a:t>
            </a:r>
          </a:p>
        </p:txBody>
      </p:sp>
      <p:sp>
        <p:nvSpPr>
          <p:cNvPr id="32" name="Rettangolo con angoli in alto arrotondati 31">
            <a:extLst>
              <a:ext uri="{FF2B5EF4-FFF2-40B4-BE49-F238E27FC236}">
                <a16:creationId xmlns:a16="http://schemas.microsoft.com/office/drawing/2014/main" id="{921FB579-E098-ED79-A065-F419F305F204}"/>
              </a:ext>
            </a:extLst>
          </p:cNvPr>
          <p:cNvSpPr/>
          <p:nvPr/>
        </p:nvSpPr>
        <p:spPr bwMode="auto">
          <a:xfrm>
            <a:off x="1261941" y="4238385"/>
            <a:ext cx="3673475" cy="2764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 b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ＭＳ Ｐゴシック" charset="-128"/>
              </a:rPr>
              <a:t>Complessità dell’operazione/progetto</a:t>
            </a:r>
          </a:p>
        </p:txBody>
      </p:sp>
      <p:sp>
        <p:nvSpPr>
          <p:cNvPr id="33" name="Rectangle 30">
            <a:extLst>
              <a:ext uri="{FF2B5EF4-FFF2-40B4-BE49-F238E27FC236}">
                <a16:creationId xmlns:a16="http://schemas.microsoft.com/office/drawing/2014/main" id="{3CAFE93E-7B34-84FA-7C08-7DE21BD14E72}"/>
              </a:ext>
            </a:extLst>
          </p:cNvPr>
          <p:cNvSpPr/>
          <p:nvPr/>
        </p:nvSpPr>
        <p:spPr bwMode="auto">
          <a:xfrm>
            <a:off x="388246" y="4534296"/>
            <a:ext cx="4547170" cy="55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algn="r" fontAlgn="base">
              <a:lnSpc>
                <a:spcPct val="90000"/>
              </a:lnSpc>
              <a:defRPr/>
            </a:pPr>
            <a:r>
              <a:rPr lang="it-IT" sz="14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considera ad esempio la presenza di più partner, la complessità tecnica, l’innovatività.</a:t>
            </a:r>
          </a:p>
        </p:txBody>
      </p:sp>
      <p:sp>
        <p:nvSpPr>
          <p:cNvPr id="35" name="Rettangolo con angoli in alto arrotondati 34">
            <a:extLst>
              <a:ext uri="{FF2B5EF4-FFF2-40B4-BE49-F238E27FC236}">
                <a16:creationId xmlns:a16="http://schemas.microsoft.com/office/drawing/2014/main" id="{AF35F505-1A1E-F957-B10A-675A5D37C4FE}"/>
              </a:ext>
            </a:extLst>
          </p:cNvPr>
          <p:cNvSpPr/>
          <p:nvPr/>
        </p:nvSpPr>
        <p:spPr bwMode="auto">
          <a:xfrm>
            <a:off x="1261941" y="5063153"/>
            <a:ext cx="3673475" cy="2764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 b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ＭＳ Ｐゴシック" charset="-128"/>
              </a:rPr>
              <a:t>Esito storico controlli/irregolarità</a:t>
            </a:r>
          </a:p>
        </p:txBody>
      </p:sp>
      <p:sp>
        <p:nvSpPr>
          <p:cNvPr id="36" name="Rectangle 30">
            <a:extLst>
              <a:ext uri="{FF2B5EF4-FFF2-40B4-BE49-F238E27FC236}">
                <a16:creationId xmlns:a16="http://schemas.microsoft.com/office/drawing/2014/main" id="{A61AD209-3C94-3BF7-BC88-6C66219FFADD}"/>
              </a:ext>
            </a:extLst>
          </p:cNvPr>
          <p:cNvSpPr/>
          <p:nvPr/>
        </p:nvSpPr>
        <p:spPr bwMode="auto">
          <a:xfrm>
            <a:off x="388246" y="5359064"/>
            <a:ext cx="4547170" cy="55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lvl="0" algn="r" fontAlgn="base">
              <a:lnSpc>
                <a:spcPct val="90000"/>
              </a:lnSpc>
              <a:defRPr/>
            </a:pPr>
            <a:r>
              <a:rPr lang="it-IT" sz="14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tiene conto ad esempio dell’esito di audit precedenti, di irregolarità pregresse.</a:t>
            </a:r>
          </a:p>
        </p:txBody>
      </p:sp>
      <p:sp>
        <p:nvSpPr>
          <p:cNvPr id="40" name="Rettangolo con angoli in alto arrotondati 39">
            <a:extLst>
              <a:ext uri="{FF2B5EF4-FFF2-40B4-BE49-F238E27FC236}">
                <a16:creationId xmlns:a16="http://schemas.microsoft.com/office/drawing/2014/main" id="{A0B0E290-8AD9-5C6B-B48A-74D063FC79BE}"/>
              </a:ext>
            </a:extLst>
          </p:cNvPr>
          <p:cNvSpPr/>
          <p:nvPr/>
        </p:nvSpPr>
        <p:spPr bwMode="auto">
          <a:xfrm>
            <a:off x="7225722" y="1620274"/>
            <a:ext cx="3673475" cy="2764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600" b="1" u="none" strike="noStrike" cap="none" normalizeH="0" baseline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ＭＳ Ｐゴシック" charset="-128"/>
              </a:rPr>
              <a:t>Tipologi</a:t>
            </a:r>
            <a:r>
              <a:rPr lang="it-IT" sz="1600" b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ＭＳ Ｐゴシック" charset="-128"/>
              </a:rPr>
              <a:t>a di rendicontazione</a:t>
            </a:r>
            <a:endParaRPr kumimoji="0" lang="it-IT" sz="1600" b="1" u="none" strike="noStrike" cap="none" normalizeH="0" baseline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latin typeface="Arial Narrow" panose="020B0606020202030204" pitchFamily="34" charset="0"/>
              <a:ea typeface="ＭＳ Ｐゴシック" charset="-128"/>
            </a:endParaRPr>
          </a:p>
        </p:txBody>
      </p:sp>
      <p:sp>
        <p:nvSpPr>
          <p:cNvPr id="41" name="Rectangle 30">
            <a:extLst>
              <a:ext uri="{FF2B5EF4-FFF2-40B4-BE49-F238E27FC236}">
                <a16:creationId xmlns:a16="http://schemas.microsoft.com/office/drawing/2014/main" id="{E0F1215B-E56F-EE2A-8DE7-852A8AE8347C}"/>
              </a:ext>
            </a:extLst>
          </p:cNvPr>
          <p:cNvSpPr/>
          <p:nvPr/>
        </p:nvSpPr>
        <p:spPr bwMode="auto">
          <a:xfrm>
            <a:off x="7225722" y="1916185"/>
            <a:ext cx="4547170" cy="55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lvl="0" fontAlgn="base">
              <a:lnSpc>
                <a:spcPct val="90000"/>
              </a:lnSpc>
              <a:defRPr/>
            </a:pPr>
            <a:r>
              <a:rPr lang="it-IT" sz="14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considera l’utilizzo di OCS, somme forfettarie, costi reali.</a:t>
            </a:r>
          </a:p>
        </p:txBody>
      </p:sp>
      <p:sp>
        <p:nvSpPr>
          <p:cNvPr id="43" name="Rettangolo con angoli in alto arrotondati 42">
            <a:extLst>
              <a:ext uri="{FF2B5EF4-FFF2-40B4-BE49-F238E27FC236}">
                <a16:creationId xmlns:a16="http://schemas.microsoft.com/office/drawing/2014/main" id="{03EB83FB-BFB1-504F-1699-AFB4217E6959}"/>
              </a:ext>
            </a:extLst>
          </p:cNvPr>
          <p:cNvSpPr/>
          <p:nvPr/>
        </p:nvSpPr>
        <p:spPr bwMode="auto">
          <a:xfrm>
            <a:off x="7225722" y="2459209"/>
            <a:ext cx="3673475" cy="2764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 b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ＭＳ Ｐゴシック" charset="-128"/>
              </a:rPr>
              <a:t>Punteggio </a:t>
            </a:r>
            <a:r>
              <a:rPr lang="it-IT" sz="1600" b="1" err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ＭＳ Ｐゴシック" charset="-128"/>
              </a:rPr>
              <a:t>Arachne</a:t>
            </a:r>
            <a:endParaRPr lang="it-IT" sz="1600" b="1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  <a:ea typeface="ＭＳ Ｐゴシック" charset="-128"/>
            </a:endParaRPr>
          </a:p>
        </p:txBody>
      </p:sp>
      <p:sp>
        <p:nvSpPr>
          <p:cNvPr id="44" name="Rectangle 30">
            <a:extLst>
              <a:ext uri="{FF2B5EF4-FFF2-40B4-BE49-F238E27FC236}">
                <a16:creationId xmlns:a16="http://schemas.microsoft.com/office/drawing/2014/main" id="{88B74366-6799-3C67-6259-B9CF10D9D709}"/>
              </a:ext>
            </a:extLst>
          </p:cNvPr>
          <p:cNvSpPr/>
          <p:nvPr/>
        </p:nvSpPr>
        <p:spPr bwMode="auto">
          <a:xfrm>
            <a:off x="7225722" y="2755120"/>
            <a:ext cx="4547170" cy="55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lvl="0" fontAlgn="base">
              <a:lnSpc>
                <a:spcPct val="90000"/>
              </a:lnSpc>
              <a:defRPr/>
            </a:pPr>
            <a:r>
              <a:rPr lang="it-IT" sz="14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tiene conto del punteggio </a:t>
            </a:r>
            <a:r>
              <a:rPr lang="it-IT" sz="1400" kern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achne</a:t>
            </a:r>
            <a:r>
              <a:rPr lang="it-IT" sz="14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ito al beneficiario come indice di rischiosità.</a:t>
            </a:r>
          </a:p>
        </p:txBody>
      </p:sp>
      <p:sp>
        <p:nvSpPr>
          <p:cNvPr id="46" name="Rettangolo con angoli in alto arrotondati 45">
            <a:extLst>
              <a:ext uri="{FF2B5EF4-FFF2-40B4-BE49-F238E27FC236}">
                <a16:creationId xmlns:a16="http://schemas.microsoft.com/office/drawing/2014/main" id="{C7935C05-277D-34FA-9501-47D750866BBF}"/>
              </a:ext>
            </a:extLst>
          </p:cNvPr>
          <p:cNvSpPr/>
          <p:nvPr/>
        </p:nvSpPr>
        <p:spPr bwMode="auto">
          <a:xfrm>
            <a:off x="7225722" y="3313819"/>
            <a:ext cx="3673475" cy="2764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 b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ＭＳ Ｐゴシック" charset="-128"/>
              </a:rPr>
              <a:t>Procedura di affidamento</a:t>
            </a:r>
          </a:p>
        </p:txBody>
      </p:sp>
      <p:sp>
        <p:nvSpPr>
          <p:cNvPr id="47" name="Rectangle 30">
            <a:extLst>
              <a:ext uri="{FF2B5EF4-FFF2-40B4-BE49-F238E27FC236}">
                <a16:creationId xmlns:a16="http://schemas.microsoft.com/office/drawing/2014/main" id="{DDFAF797-24D8-73F5-489A-71B44D823347}"/>
              </a:ext>
            </a:extLst>
          </p:cNvPr>
          <p:cNvSpPr/>
          <p:nvPr/>
        </p:nvSpPr>
        <p:spPr bwMode="auto">
          <a:xfrm>
            <a:off x="7225722" y="3609730"/>
            <a:ext cx="4547170" cy="55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lvl="0" fontAlgn="base">
              <a:lnSpc>
                <a:spcPct val="90000"/>
              </a:lnSpc>
              <a:defRPr/>
            </a:pPr>
            <a:r>
              <a:rPr lang="it-IT" sz="14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considera ad esempio la presenza di procedure di appalto (es. verifica estesa al 100% se sopra soglia)</a:t>
            </a:r>
          </a:p>
        </p:txBody>
      </p:sp>
      <p:sp>
        <p:nvSpPr>
          <p:cNvPr id="49" name="Rettangolo con angoli in alto arrotondati 48">
            <a:extLst>
              <a:ext uri="{FF2B5EF4-FFF2-40B4-BE49-F238E27FC236}">
                <a16:creationId xmlns:a16="http://schemas.microsoft.com/office/drawing/2014/main" id="{37A3B8CE-CC62-B69E-9CAB-A24BC8F144D7}"/>
              </a:ext>
            </a:extLst>
          </p:cNvPr>
          <p:cNvSpPr/>
          <p:nvPr/>
        </p:nvSpPr>
        <p:spPr bwMode="auto">
          <a:xfrm>
            <a:off x="7225722" y="4246414"/>
            <a:ext cx="3673475" cy="2764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 b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ＭＳ Ｐゴシック" charset="-128"/>
              </a:rPr>
              <a:t>Macro-processo</a:t>
            </a:r>
          </a:p>
        </p:txBody>
      </p:sp>
      <p:sp>
        <p:nvSpPr>
          <p:cNvPr id="50" name="Rectangle 30">
            <a:extLst>
              <a:ext uri="{FF2B5EF4-FFF2-40B4-BE49-F238E27FC236}">
                <a16:creationId xmlns:a16="http://schemas.microsoft.com/office/drawing/2014/main" id="{87583B6A-713C-AD9C-E6A1-68B1236B96F6}"/>
              </a:ext>
            </a:extLst>
          </p:cNvPr>
          <p:cNvSpPr/>
          <p:nvPr/>
        </p:nvSpPr>
        <p:spPr bwMode="auto">
          <a:xfrm>
            <a:off x="7225722" y="4542325"/>
            <a:ext cx="4547170" cy="55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lvl="0" fontAlgn="base">
              <a:lnSpc>
                <a:spcPct val="90000"/>
              </a:lnSpc>
              <a:defRPr/>
            </a:pPr>
            <a:r>
              <a:rPr lang="it-IT" sz="14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differenzia il rischio in base al processo gestionale, alla tipologia di procedura, al bando di riferimento.</a:t>
            </a:r>
          </a:p>
        </p:txBody>
      </p:sp>
      <p:sp>
        <p:nvSpPr>
          <p:cNvPr id="51" name="Rettangolo con angoli in alto arrotondati 50">
            <a:extLst>
              <a:ext uri="{FF2B5EF4-FFF2-40B4-BE49-F238E27FC236}">
                <a16:creationId xmlns:a16="http://schemas.microsoft.com/office/drawing/2014/main" id="{26EC93F5-0FCB-398C-B4AB-C64832DD8A11}"/>
              </a:ext>
            </a:extLst>
          </p:cNvPr>
          <p:cNvSpPr/>
          <p:nvPr/>
        </p:nvSpPr>
        <p:spPr bwMode="auto">
          <a:xfrm>
            <a:off x="7225722" y="5097225"/>
            <a:ext cx="3673475" cy="2764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 b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ＭＳ Ｐゴシック" charset="-128"/>
              </a:rPr>
              <a:t>Fase progetto/tipologia DDR</a:t>
            </a:r>
          </a:p>
        </p:txBody>
      </p:sp>
      <p:sp>
        <p:nvSpPr>
          <p:cNvPr id="52" name="Rectangle 30">
            <a:extLst>
              <a:ext uri="{FF2B5EF4-FFF2-40B4-BE49-F238E27FC236}">
                <a16:creationId xmlns:a16="http://schemas.microsoft.com/office/drawing/2014/main" id="{0402A62B-6D6D-3D08-4E38-C6F632A3D567}"/>
              </a:ext>
            </a:extLst>
          </p:cNvPr>
          <p:cNvSpPr/>
          <p:nvPr/>
        </p:nvSpPr>
        <p:spPr bwMode="auto">
          <a:xfrm>
            <a:off x="7225722" y="5393136"/>
            <a:ext cx="4547170" cy="55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lvl="0" fontAlgn="base">
              <a:lnSpc>
                <a:spcPct val="90000"/>
              </a:lnSpc>
              <a:defRPr/>
            </a:pPr>
            <a:r>
              <a:rPr lang="it-IT" sz="14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considera ad esempio la fase di rendicontazione (es. domande intermedie, finali).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2640BA4E-7365-B17F-B310-98B81075F896}"/>
              </a:ext>
            </a:extLst>
          </p:cNvPr>
          <p:cNvSpPr txBox="1"/>
          <p:nvPr/>
        </p:nvSpPr>
        <p:spPr>
          <a:xfrm>
            <a:off x="462902" y="982140"/>
            <a:ext cx="113946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Si riportano di seguito i fattori di rischio </a:t>
            </a:r>
            <a:r>
              <a:rPr lang="it-IT" sz="1600" b="1">
                <a:latin typeface="Arial" panose="020B0604020202020204" pitchFamily="34" charset="0"/>
                <a:cs typeface="Arial" panose="020B0604020202020204" pitchFamily="34" charset="0"/>
              </a:rPr>
              <a:t>maggiormente ricorrenti </a:t>
            </a: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nelle metodologie adottate:</a:t>
            </a:r>
          </a:p>
        </p:txBody>
      </p:sp>
    </p:spTree>
    <p:extLst>
      <p:ext uri="{BB962C8B-B14F-4D97-AF65-F5344CB8AC3E}">
        <p14:creationId xmlns:p14="http://schemas.microsoft.com/office/powerpoint/2010/main" val="3502781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F59F5D-7CE8-5415-4F2F-F1B4FDBDA7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37CA78F-9CA6-269E-ABC4-B96F47498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578C1B5-6AB5-7989-2EAB-3B992ED35E9E}"/>
              </a:ext>
            </a:extLst>
          </p:cNvPr>
          <p:cNvSpPr txBox="1">
            <a:spLocks/>
          </p:cNvSpPr>
          <p:nvPr/>
        </p:nvSpPr>
        <p:spPr>
          <a:xfrm>
            <a:off x="170565" y="384207"/>
            <a:ext cx="11155395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lvl="0">
              <a:defRPr/>
            </a:pPr>
            <a:r>
              <a:rPr lang="it-IT" sz="2800" b="1">
                <a:latin typeface="Arial" panose="020B0604020202020204" pitchFamily="34" charset="0"/>
                <a:cs typeface="Arial" panose="020B0604020202020204" pitchFamily="34" charset="0"/>
              </a:rPr>
              <a:t>Risultanze Requisito Chiave 4 nella Programmazione 21-27 (1/3) 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Sottotitolo 2">
            <a:extLst>
              <a:ext uri="{FF2B5EF4-FFF2-40B4-BE49-F238E27FC236}">
                <a16:creationId xmlns:a16="http://schemas.microsoft.com/office/drawing/2014/main" id="{8A1F76A8-1B90-5C9B-7BA1-8DD258C33A11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F9274135-11E3-B0CD-3E16-8C8B5CE0B493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9" name="Elaborazione alternativa 8">
            <a:extLst>
              <a:ext uri="{FF2B5EF4-FFF2-40B4-BE49-F238E27FC236}">
                <a16:creationId xmlns:a16="http://schemas.microsoft.com/office/drawing/2014/main" id="{F4CA07C2-591C-17A2-2775-C4C00BBA728A}"/>
              </a:ext>
            </a:extLst>
          </p:cNvPr>
          <p:cNvSpPr/>
          <p:nvPr/>
        </p:nvSpPr>
        <p:spPr>
          <a:xfrm>
            <a:off x="496993" y="1034034"/>
            <a:ext cx="11155395" cy="907321"/>
          </a:xfrm>
          <a:prstGeom prst="flowChartAlternateProcess">
            <a:avLst/>
          </a:prstGeom>
          <a:solidFill>
            <a:srgbClr val="D9E6FF">
              <a:alpha val="43137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D89984D0-9CA1-1979-C9BE-0E45E23C3439}"/>
              </a:ext>
            </a:extLst>
          </p:cNvPr>
          <p:cNvSpPr/>
          <p:nvPr/>
        </p:nvSpPr>
        <p:spPr>
          <a:xfrm>
            <a:off x="496992" y="1093274"/>
            <a:ext cx="1924833" cy="830997"/>
          </a:xfrm>
          <a:prstGeom prst="rect">
            <a:avLst/>
          </a:prstGeom>
          <a:solidFill>
            <a:srgbClr val="27348A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57884A2-B217-CEED-E282-718DFD5D2B01}"/>
              </a:ext>
            </a:extLst>
          </p:cNvPr>
          <p:cNvSpPr txBox="1"/>
          <p:nvPr/>
        </p:nvSpPr>
        <p:spPr>
          <a:xfrm>
            <a:off x="575664" y="1164528"/>
            <a:ext cx="1789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quisito Chiave 4</a:t>
            </a:r>
          </a:p>
        </p:txBody>
      </p:sp>
      <p:sp>
        <p:nvSpPr>
          <p:cNvPr id="12" name="Isosceles Triangle 6">
            <a:extLst>
              <a:ext uri="{FF2B5EF4-FFF2-40B4-BE49-F238E27FC236}">
                <a16:creationId xmlns:a16="http://schemas.microsoft.com/office/drawing/2014/main" id="{55791A55-6188-861D-F919-3A8FDAA43647}"/>
              </a:ext>
            </a:extLst>
          </p:cNvPr>
          <p:cNvSpPr>
            <a:spLocks noChangeAspect="1"/>
          </p:cNvSpPr>
          <p:nvPr/>
        </p:nvSpPr>
        <p:spPr>
          <a:xfrm rot="5400000">
            <a:off x="2415316" y="1395512"/>
            <a:ext cx="303914" cy="293930"/>
          </a:xfrm>
          <a:prstGeom prst="triangle">
            <a:avLst/>
          </a:prstGeom>
          <a:solidFill>
            <a:srgbClr val="27348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DF6E23EB-7790-F7E3-1625-4CD7A0B66580}"/>
              </a:ext>
            </a:extLst>
          </p:cNvPr>
          <p:cNvSpPr txBox="1"/>
          <p:nvPr/>
        </p:nvSpPr>
        <p:spPr>
          <a:xfrm>
            <a:off x="2714238" y="1047107"/>
            <a:ext cx="88825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i="1">
                <a:latin typeface="Arial" panose="020B0604020202020204" pitchFamily="34" charset="0"/>
                <a:cs typeface="Arial" panose="020B0604020202020204" pitchFamily="34" charset="0"/>
              </a:rPr>
              <a:t>«Opportune verifiche di gestione, comprese le procedure appropriate per la verifica del rispetto delle condizioni per il finanziamento non legato ai costi e per le Opzioni semplificate in materia di costi» </a:t>
            </a:r>
            <a:endParaRPr lang="it-IT" b="1" i="1" u="sn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Grafico 21">
            <a:extLst>
              <a:ext uri="{FF2B5EF4-FFF2-40B4-BE49-F238E27FC236}">
                <a16:creationId xmlns:a16="http://schemas.microsoft.com/office/drawing/2014/main" id="{0B05DF24-73B9-B7BC-8ED0-87D2273273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665354"/>
              </p:ext>
            </p:extLst>
          </p:nvPr>
        </p:nvGraphicFramePr>
        <p:xfrm>
          <a:off x="0" y="2095323"/>
          <a:ext cx="4710937" cy="38978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BCBB6475-68A2-5C5F-A9C7-B7C4D8B78CFD}"/>
              </a:ext>
            </a:extLst>
          </p:cNvPr>
          <p:cNvSpPr txBox="1"/>
          <p:nvPr/>
        </p:nvSpPr>
        <p:spPr>
          <a:xfrm>
            <a:off x="4046885" y="4349199"/>
            <a:ext cx="1091630" cy="80510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8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1E41E2DF-575F-7BD2-6948-7F823B762F3A}"/>
              </a:ext>
            </a:extLst>
          </p:cNvPr>
          <p:cNvSpPr/>
          <p:nvPr/>
        </p:nvSpPr>
        <p:spPr>
          <a:xfrm>
            <a:off x="6247184" y="2402285"/>
            <a:ext cx="3706940" cy="15100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schemeClr val="tx1"/>
              </a:solidFill>
              <a:latin typeface="Arial"/>
            </a:endParaRPr>
          </a:p>
        </p:txBody>
      </p:sp>
      <p:grpSp>
        <p:nvGrpSpPr>
          <p:cNvPr id="15" name="Gruppo 14">
            <a:extLst>
              <a:ext uri="{FF2B5EF4-FFF2-40B4-BE49-F238E27FC236}">
                <a16:creationId xmlns:a16="http://schemas.microsoft.com/office/drawing/2014/main" id="{A7977266-7D48-3D52-3E71-ACBF50D16A2A}"/>
              </a:ext>
            </a:extLst>
          </p:cNvPr>
          <p:cNvGrpSpPr/>
          <p:nvPr/>
        </p:nvGrpSpPr>
        <p:grpSpPr>
          <a:xfrm>
            <a:off x="6479867" y="2622512"/>
            <a:ext cx="3096476" cy="309696"/>
            <a:chOff x="6632267" y="2427116"/>
            <a:chExt cx="3096476" cy="309696"/>
          </a:xfrm>
        </p:grpSpPr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D4D2BBEB-65A4-B280-7B10-FED3665A6180}"/>
                </a:ext>
              </a:extLst>
            </p:cNvPr>
            <p:cNvSpPr txBox="1"/>
            <p:nvPr/>
          </p:nvSpPr>
          <p:spPr>
            <a:xfrm>
              <a:off x="7176780" y="2427116"/>
              <a:ext cx="666699" cy="309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FSE+</a:t>
              </a:r>
            </a:p>
          </p:txBody>
        </p:sp>
        <p:sp>
          <p:nvSpPr>
            <p:cNvPr id="18" name="Rettangolo 17">
              <a:extLst>
                <a:ext uri="{FF2B5EF4-FFF2-40B4-BE49-F238E27FC236}">
                  <a16:creationId xmlns:a16="http://schemas.microsoft.com/office/drawing/2014/main" id="{6A0CEF43-8489-CB45-7941-D9F32D1642B2}"/>
                </a:ext>
              </a:extLst>
            </p:cNvPr>
            <p:cNvSpPr/>
            <p:nvPr/>
          </p:nvSpPr>
          <p:spPr>
            <a:xfrm>
              <a:off x="6632267" y="2478519"/>
              <a:ext cx="524470" cy="206890"/>
            </a:xfrm>
            <a:prstGeom prst="rect">
              <a:avLst/>
            </a:prstGeom>
            <a:solidFill>
              <a:srgbClr val="00C0AE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19" name="Rettangolo 18">
              <a:extLst>
                <a:ext uri="{FF2B5EF4-FFF2-40B4-BE49-F238E27FC236}">
                  <a16:creationId xmlns:a16="http://schemas.microsoft.com/office/drawing/2014/main" id="{9FAE8257-2E95-A10C-9FD2-4E5ED482D32E}"/>
                </a:ext>
              </a:extLst>
            </p:cNvPr>
            <p:cNvSpPr/>
            <p:nvPr/>
          </p:nvSpPr>
          <p:spPr>
            <a:xfrm>
              <a:off x="9015693" y="2479455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chemeClr val="tx1"/>
                  </a:solidFill>
                  <a:latin typeface="Arial"/>
                </a:rPr>
                <a:t>9</a:t>
              </a:r>
            </a:p>
          </p:txBody>
        </p:sp>
      </p:grp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9FEC8316-3ACD-4787-1833-DD3353A8AA1A}"/>
              </a:ext>
            </a:extLst>
          </p:cNvPr>
          <p:cNvGrpSpPr/>
          <p:nvPr/>
        </p:nvGrpSpPr>
        <p:grpSpPr>
          <a:xfrm>
            <a:off x="6479867" y="3038901"/>
            <a:ext cx="3096476" cy="309696"/>
            <a:chOff x="6632267" y="2950573"/>
            <a:chExt cx="3096476" cy="309696"/>
          </a:xfrm>
        </p:grpSpPr>
        <p:sp>
          <p:nvSpPr>
            <p:cNvPr id="21" name="CasellaDiTesto 20">
              <a:extLst>
                <a:ext uri="{FF2B5EF4-FFF2-40B4-BE49-F238E27FC236}">
                  <a16:creationId xmlns:a16="http://schemas.microsoft.com/office/drawing/2014/main" id="{51135ABA-6A73-280C-9404-ABEA5D841667}"/>
                </a:ext>
              </a:extLst>
            </p:cNvPr>
            <p:cNvSpPr txBox="1"/>
            <p:nvPr/>
          </p:nvSpPr>
          <p:spPr>
            <a:xfrm>
              <a:off x="7176780" y="2950573"/>
              <a:ext cx="666699" cy="309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FESR</a:t>
              </a:r>
            </a:p>
          </p:txBody>
        </p:sp>
        <p:sp>
          <p:nvSpPr>
            <p:cNvPr id="30" name="Rettangolo 29">
              <a:extLst>
                <a:ext uri="{FF2B5EF4-FFF2-40B4-BE49-F238E27FC236}">
                  <a16:creationId xmlns:a16="http://schemas.microsoft.com/office/drawing/2014/main" id="{EFE3A4FC-3B0D-41F4-CE3A-F3F874E4CFC4}"/>
                </a:ext>
              </a:extLst>
            </p:cNvPr>
            <p:cNvSpPr/>
            <p:nvPr/>
          </p:nvSpPr>
          <p:spPr>
            <a:xfrm>
              <a:off x="6632267" y="3001976"/>
              <a:ext cx="524470" cy="20689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31" name="Rettangolo 30">
              <a:extLst>
                <a:ext uri="{FF2B5EF4-FFF2-40B4-BE49-F238E27FC236}">
                  <a16:creationId xmlns:a16="http://schemas.microsoft.com/office/drawing/2014/main" id="{F9DA89F2-192F-12BB-B77E-0A64984E78EE}"/>
                </a:ext>
              </a:extLst>
            </p:cNvPr>
            <p:cNvSpPr/>
            <p:nvPr/>
          </p:nvSpPr>
          <p:spPr>
            <a:xfrm>
              <a:off x="9015693" y="3002912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chemeClr val="tx1"/>
                  </a:solidFill>
                  <a:latin typeface="Arial"/>
                </a:rPr>
                <a:t>14</a:t>
              </a:r>
            </a:p>
          </p:txBody>
        </p:sp>
      </p:grpSp>
      <p:grpSp>
        <p:nvGrpSpPr>
          <p:cNvPr id="40" name="Gruppo 39">
            <a:extLst>
              <a:ext uri="{FF2B5EF4-FFF2-40B4-BE49-F238E27FC236}">
                <a16:creationId xmlns:a16="http://schemas.microsoft.com/office/drawing/2014/main" id="{3884A664-FBF3-FF56-8768-527081CEEFF0}"/>
              </a:ext>
            </a:extLst>
          </p:cNvPr>
          <p:cNvGrpSpPr/>
          <p:nvPr/>
        </p:nvGrpSpPr>
        <p:grpSpPr>
          <a:xfrm>
            <a:off x="6478722" y="3483865"/>
            <a:ext cx="3097621" cy="241651"/>
            <a:chOff x="6631122" y="3557183"/>
            <a:chExt cx="3097621" cy="241651"/>
          </a:xfrm>
        </p:grpSpPr>
        <p:sp>
          <p:nvSpPr>
            <p:cNvPr id="41" name="Rettangolo 40">
              <a:extLst>
                <a:ext uri="{FF2B5EF4-FFF2-40B4-BE49-F238E27FC236}">
                  <a16:creationId xmlns:a16="http://schemas.microsoft.com/office/drawing/2014/main" id="{DE08ED15-C9F9-67D9-81A4-065DF0EE0504}"/>
                </a:ext>
              </a:extLst>
            </p:cNvPr>
            <p:cNvSpPr/>
            <p:nvPr/>
          </p:nvSpPr>
          <p:spPr>
            <a:xfrm>
              <a:off x="6631122" y="3574563"/>
              <a:ext cx="524470" cy="206890"/>
            </a:xfrm>
            <a:prstGeom prst="rect">
              <a:avLst/>
            </a:prstGeom>
            <a:solidFill>
              <a:srgbClr val="FFC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42" name="CasellaDiTesto 41">
              <a:extLst>
                <a:ext uri="{FF2B5EF4-FFF2-40B4-BE49-F238E27FC236}">
                  <a16:creationId xmlns:a16="http://schemas.microsoft.com/office/drawing/2014/main" id="{2DD1C26B-2C23-4B5C-F550-8AB4802927C8}"/>
                </a:ext>
              </a:extLst>
            </p:cNvPr>
            <p:cNvSpPr txBox="1"/>
            <p:nvPr/>
          </p:nvSpPr>
          <p:spPr>
            <a:xfrm>
              <a:off x="7213803" y="3557183"/>
              <a:ext cx="1225522" cy="2416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Plurifondo</a:t>
              </a:r>
            </a:p>
          </p:txBody>
        </p:sp>
        <p:sp>
          <p:nvSpPr>
            <p:cNvPr id="43" name="Rettangolo 42">
              <a:extLst>
                <a:ext uri="{FF2B5EF4-FFF2-40B4-BE49-F238E27FC236}">
                  <a16:creationId xmlns:a16="http://schemas.microsoft.com/office/drawing/2014/main" id="{DE1A0349-B5CB-1E55-4256-AA11A2AAF549}"/>
                </a:ext>
              </a:extLst>
            </p:cNvPr>
            <p:cNvSpPr/>
            <p:nvPr/>
          </p:nvSpPr>
          <p:spPr>
            <a:xfrm>
              <a:off x="9015693" y="3575499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chemeClr val="tx1"/>
                  </a:solidFill>
                  <a:latin typeface="Arial"/>
                </a:rPr>
                <a:t>5</a:t>
              </a:r>
            </a:p>
          </p:txBody>
        </p:sp>
      </p:grp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FE3D4EC0-FE84-D0AA-BFAC-034A3D051813}"/>
              </a:ext>
            </a:extLst>
          </p:cNvPr>
          <p:cNvSpPr txBox="1"/>
          <p:nvPr/>
        </p:nvSpPr>
        <p:spPr>
          <a:xfrm>
            <a:off x="3678701" y="3063282"/>
            <a:ext cx="1764000" cy="24721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600" b="1" i="1">
                <a:latin typeface="Arial" panose="020B0604020202020204" pitchFamily="34" charset="0"/>
                <a:cs typeface="Arial" panose="020B0604020202020204" pitchFamily="34" charset="0"/>
              </a:rPr>
              <a:t>Totali Programmi sottoposti ad audit di sistema su RC4</a:t>
            </a:r>
          </a:p>
          <a:p>
            <a:pPr algn="ctr">
              <a:spcAft>
                <a:spcPts val="600"/>
              </a:spcAft>
              <a:defRPr/>
            </a:pPr>
            <a:endParaRPr lang="it-IT" sz="2000" b="1" i="1">
              <a:latin typeface="Arial"/>
            </a:endParaRP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143EB714-35F7-019F-04E0-5220AA64738C}"/>
              </a:ext>
            </a:extLst>
          </p:cNvPr>
          <p:cNvSpPr txBox="1"/>
          <p:nvPr/>
        </p:nvSpPr>
        <p:spPr>
          <a:xfrm>
            <a:off x="6360689" y="2000362"/>
            <a:ext cx="3494955" cy="356142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 b="1" i="1">
                <a:latin typeface="Arial"/>
              </a:rPr>
              <a:t>Programmi sottoposti ad audit di sistema su RC4 – III e IV pc</a:t>
            </a:r>
          </a:p>
        </p:txBody>
      </p:sp>
      <p:sp>
        <p:nvSpPr>
          <p:cNvPr id="46" name="Rectangle 1">
            <a:extLst>
              <a:ext uri="{FF2B5EF4-FFF2-40B4-BE49-F238E27FC236}">
                <a16:creationId xmlns:a16="http://schemas.microsoft.com/office/drawing/2014/main" id="{EA3BD348-24E4-99F0-FB17-748CB0B2F837}"/>
              </a:ext>
            </a:extLst>
          </p:cNvPr>
          <p:cNvSpPr/>
          <p:nvPr/>
        </p:nvSpPr>
        <p:spPr>
          <a:xfrm>
            <a:off x="6247184" y="4467624"/>
            <a:ext cx="5640016" cy="155251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schemeClr val="tx1"/>
              </a:solidFill>
              <a:latin typeface="Arial"/>
            </a:endParaRPr>
          </a:p>
        </p:txBody>
      </p:sp>
      <p:sp>
        <p:nvSpPr>
          <p:cNvPr id="59" name="Rettangolo 58">
            <a:extLst>
              <a:ext uri="{FF2B5EF4-FFF2-40B4-BE49-F238E27FC236}">
                <a16:creationId xmlns:a16="http://schemas.microsoft.com/office/drawing/2014/main" id="{654BC38E-BF4A-DEBF-1518-FF33300FDF19}"/>
              </a:ext>
            </a:extLst>
          </p:cNvPr>
          <p:cNvSpPr/>
          <p:nvPr/>
        </p:nvSpPr>
        <p:spPr>
          <a:xfrm>
            <a:off x="8855619" y="4526477"/>
            <a:ext cx="713050" cy="205019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chemeClr val="bg1"/>
                </a:solidFill>
                <a:latin typeface="Arial"/>
              </a:rPr>
              <a:t>1</a:t>
            </a:r>
          </a:p>
        </p:txBody>
      </p:sp>
      <p:sp>
        <p:nvSpPr>
          <p:cNvPr id="60" name="Rettangolo 59">
            <a:extLst>
              <a:ext uri="{FF2B5EF4-FFF2-40B4-BE49-F238E27FC236}">
                <a16:creationId xmlns:a16="http://schemas.microsoft.com/office/drawing/2014/main" id="{00997088-F94F-41B9-EA4F-8CDAEA275D46}"/>
              </a:ext>
            </a:extLst>
          </p:cNvPr>
          <p:cNvSpPr/>
          <p:nvPr/>
        </p:nvSpPr>
        <p:spPr>
          <a:xfrm>
            <a:off x="9891167" y="4535236"/>
            <a:ext cx="713050" cy="205019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chemeClr val="bg1"/>
                </a:solidFill>
                <a:latin typeface="Arial"/>
              </a:rPr>
              <a:t>2</a:t>
            </a:r>
          </a:p>
        </p:txBody>
      </p:sp>
      <p:sp>
        <p:nvSpPr>
          <p:cNvPr id="61" name="Rettangolo 60">
            <a:extLst>
              <a:ext uri="{FF2B5EF4-FFF2-40B4-BE49-F238E27FC236}">
                <a16:creationId xmlns:a16="http://schemas.microsoft.com/office/drawing/2014/main" id="{61F57223-2799-C501-4ABD-D198BBB35FE4}"/>
              </a:ext>
            </a:extLst>
          </p:cNvPr>
          <p:cNvSpPr/>
          <p:nvPr/>
        </p:nvSpPr>
        <p:spPr>
          <a:xfrm>
            <a:off x="10898676" y="4535236"/>
            <a:ext cx="713050" cy="205019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chemeClr val="bg1"/>
                </a:solidFill>
                <a:latin typeface="Arial"/>
              </a:rPr>
              <a:t>3</a:t>
            </a:r>
          </a:p>
        </p:txBody>
      </p:sp>
      <p:sp>
        <p:nvSpPr>
          <p:cNvPr id="75" name="CasellaDiTesto 74">
            <a:extLst>
              <a:ext uri="{FF2B5EF4-FFF2-40B4-BE49-F238E27FC236}">
                <a16:creationId xmlns:a16="http://schemas.microsoft.com/office/drawing/2014/main" id="{F7C93316-5E67-57D8-2239-3824F887EC46}"/>
              </a:ext>
            </a:extLst>
          </p:cNvPr>
          <p:cNvSpPr txBox="1"/>
          <p:nvPr/>
        </p:nvSpPr>
        <p:spPr>
          <a:xfrm>
            <a:off x="7016706" y="4808482"/>
            <a:ext cx="666699" cy="30969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>
                <a:latin typeface="Arial" panose="020B0604020202020204" pitchFamily="34" charset="0"/>
                <a:cs typeface="Arial" panose="020B0604020202020204" pitchFamily="34" charset="0"/>
              </a:rPr>
              <a:t>FSE+</a:t>
            </a:r>
          </a:p>
        </p:txBody>
      </p:sp>
      <p:sp>
        <p:nvSpPr>
          <p:cNvPr id="76" name="Rettangolo 75">
            <a:extLst>
              <a:ext uri="{FF2B5EF4-FFF2-40B4-BE49-F238E27FC236}">
                <a16:creationId xmlns:a16="http://schemas.microsoft.com/office/drawing/2014/main" id="{053578E9-8DBA-48D7-E8E2-F8D56D871CA3}"/>
              </a:ext>
            </a:extLst>
          </p:cNvPr>
          <p:cNvSpPr/>
          <p:nvPr/>
        </p:nvSpPr>
        <p:spPr>
          <a:xfrm>
            <a:off x="6472193" y="4859885"/>
            <a:ext cx="524470" cy="206890"/>
          </a:xfrm>
          <a:prstGeom prst="rect">
            <a:avLst/>
          </a:prstGeom>
          <a:solidFill>
            <a:srgbClr val="00C0A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schemeClr val="tx1"/>
              </a:solidFill>
              <a:latin typeface="Arial"/>
            </a:endParaRPr>
          </a:p>
        </p:txBody>
      </p:sp>
      <p:sp>
        <p:nvSpPr>
          <p:cNvPr id="77" name="Rettangolo 76">
            <a:extLst>
              <a:ext uri="{FF2B5EF4-FFF2-40B4-BE49-F238E27FC236}">
                <a16:creationId xmlns:a16="http://schemas.microsoft.com/office/drawing/2014/main" id="{E143DC37-6A64-D817-24A4-E235DF83687F}"/>
              </a:ext>
            </a:extLst>
          </p:cNvPr>
          <p:cNvSpPr/>
          <p:nvPr/>
        </p:nvSpPr>
        <p:spPr>
          <a:xfrm>
            <a:off x="8855619" y="4860821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chemeClr val="tx1"/>
                </a:solidFill>
                <a:latin typeface="Arial"/>
              </a:rPr>
              <a:t>1</a:t>
            </a:r>
          </a:p>
        </p:txBody>
      </p:sp>
      <p:sp>
        <p:nvSpPr>
          <p:cNvPr id="79" name="CasellaDiTesto 78">
            <a:extLst>
              <a:ext uri="{FF2B5EF4-FFF2-40B4-BE49-F238E27FC236}">
                <a16:creationId xmlns:a16="http://schemas.microsoft.com/office/drawing/2014/main" id="{380D731A-D7FC-A752-8FBE-659FBB8B6427}"/>
              </a:ext>
            </a:extLst>
          </p:cNvPr>
          <p:cNvSpPr txBox="1"/>
          <p:nvPr/>
        </p:nvSpPr>
        <p:spPr>
          <a:xfrm>
            <a:off x="7016706" y="5224871"/>
            <a:ext cx="666699" cy="309696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>
                <a:latin typeface="Arial" panose="020B0604020202020204" pitchFamily="34" charset="0"/>
                <a:cs typeface="Arial" panose="020B0604020202020204" pitchFamily="34" charset="0"/>
              </a:rPr>
              <a:t>FESR</a:t>
            </a:r>
          </a:p>
        </p:txBody>
      </p:sp>
      <p:sp>
        <p:nvSpPr>
          <p:cNvPr id="80" name="Rettangolo 79">
            <a:extLst>
              <a:ext uri="{FF2B5EF4-FFF2-40B4-BE49-F238E27FC236}">
                <a16:creationId xmlns:a16="http://schemas.microsoft.com/office/drawing/2014/main" id="{0AD5AD8A-C4BC-6A92-2D87-F202A6AAA44A}"/>
              </a:ext>
            </a:extLst>
          </p:cNvPr>
          <p:cNvSpPr/>
          <p:nvPr/>
        </p:nvSpPr>
        <p:spPr>
          <a:xfrm>
            <a:off x="6472193" y="5276274"/>
            <a:ext cx="524470" cy="20689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schemeClr val="tx1"/>
              </a:solidFill>
              <a:latin typeface="Arial"/>
            </a:endParaRPr>
          </a:p>
        </p:txBody>
      </p:sp>
      <p:sp>
        <p:nvSpPr>
          <p:cNvPr id="81" name="Rettangolo 80">
            <a:extLst>
              <a:ext uri="{FF2B5EF4-FFF2-40B4-BE49-F238E27FC236}">
                <a16:creationId xmlns:a16="http://schemas.microsoft.com/office/drawing/2014/main" id="{FD5D9A51-C555-23FE-59DC-59113E24F0EF}"/>
              </a:ext>
            </a:extLst>
          </p:cNvPr>
          <p:cNvSpPr/>
          <p:nvPr/>
        </p:nvSpPr>
        <p:spPr>
          <a:xfrm>
            <a:off x="8855619" y="5277210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chemeClr val="tx1"/>
                </a:solidFill>
                <a:latin typeface="Arial"/>
              </a:rPr>
              <a:t>0</a:t>
            </a:r>
          </a:p>
        </p:txBody>
      </p:sp>
      <p:sp>
        <p:nvSpPr>
          <p:cNvPr id="83" name="Rettangolo 82">
            <a:extLst>
              <a:ext uri="{FF2B5EF4-FFF2-40B4-BE49-F238E27FC236}">
                <a16:creationId xmlns:a16="http://schemas.microsoft.com/office/drawing/2014/main" id="{5763A179-29AB-BFFD-8AFC-21516D474DC0}"/>
              </a:ext>
            </a:extLst>
          </p:cNvPr>
          <p:cNvSpPr/>
          <p:nvPr/>
        </p:nvSpPr>
        <p:spPr>
          <a:xfrm>
            <a:off x="6471048" y="5687215"/>
            <a:ext cx="524470" cy="206890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schemeClr val="tx1"/>
              </a:solidFill>
              <a:latin typeface="Arial"/>
            </a:endParaRPr>
          </a:p>
        </p:txBody>
      </p:sp>
      <p:sp>
        <p:nvSpPr>
          <p:cNvPr id="84" name="CasellaDiTesto 83">
            <a:extLst>
              <a:ext uri="{FF2B5EF4-FFF2-40B4-BE49-F238E27FC236}">
                <a16:creationId xmlns:a16="http://schemas.microsoft.com/office/drawing/2014/main" id="{C3C1263E-EBE1-86BC-4863-C7EF52102487}"/>
              </a:ext>
            </a:extLst>
          </p:cNvPr>
          <p:cNvSpPr txBox="1"/>
          <p:nvPr/>
        </p:nvSpPr>
        <p:spPr>
          <a:xfrm>
            <a:off x="7053729" y="5669835"/>
            <a:ext cx="1225522" cy="241651"/>
          </a:xfrm>
          <a:prstGeom prst="rect">
            <a:avLst/>
          </a:prstGeom>
          <a:noFill/>
          <a:ln>
            <a:noFill/>
          </a:ln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>
                <a:latin typeface="Arial" panose="020B0604020202020204" pitchFamily="34" charset="0"/>
                <a:cs typeface="Arial" panose="020B0604020202020204" pitchFamily="34" charset="0"/>
              </a:rPr>
              <a:t>Plurifondo</a:t>
            </a:r>
          </a:p>
        </p:txBody>
      </p:sp>
      <p:sp>
        <p:nvSpPr>
          <p:cNvPr id="85" name="Rettangolo 84">
            <a:extLst>
              <a:ext uri="{FF2B5EF4-FFF2-40B4-BE49-F238E27FC236}">
                <a16:creationId xmlns:a16="http://schemas.microsoft.com/office/drawing/2014/main" id="{7634A6D3-98F1-4FC9-4E69-384134584EA6}"/>
              </a:ext>
            </a:extLst>
          </p:cNvPr>
          <p:cNvSpPr/>
          <p:nvPr/>
        </p:nvSpPr>
        <p:spPr>
          <a:xfrm>
            <a:off x="8855619" y="5688151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chemeClr val="tx1"/>
                </a:solidFill>
                <a:latin typeface="Arial"/>
              </a:rPr>
              <a:t>0</a:t>
            </a:r>
          </a:p>
        </p:txBody>
      </p:sp>
      <p:sp>
        <p:nvSpPr>
          <p:cNvPr id="86" name="Rettangolo 85">
            <a:extLst>
              <a:ext uri="{FF2B5EF4-FFF2-40B4-BE49-F238E27FC236}">
                <a16:creationId xmlns:a16="http://schemas.microsoft.com/office/drawing/2014/main" id="{AEEA3F8D-D9E8-55AF-7466-2EDA21014EA4}"/>
              </a:ext>
            </a:extLst>
          </p:cNvPr>
          <p:cNvSpPr/>
          <p:nvPr/>
        </p:nvSpPr>
        <p:spPr>
          <a:xfrm>
            <a:off x="9891167" y="4867462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chemeClr val="tx1"/>
                </a:solidFill>
                <a:latin typeface="Arial"/>
              </a:rPr>
              <a:t>8</a:t>
            </a:r>
          </a:p>
        </p:txBody>
      </p:sp>
      <p:sp>
        <p:nvSpPr>
          <p:cNvPr id="87" name="Rettangolo 86">
            <a:extLst>
              <a:ext uri="{FF2B5EF4-FFF2-40B4-BE49-F238E27FC236}">
                <a16:creationId xmlns:a16="http://schemas.microsoft.com/office/drawing/2014/main" id="{1D39E047-1C9A-23BA-EC74-2905B74C2F60}"/>
              </a:ext>
            </a:extLst>
          </p:cNvPr>
          <p:cNvSpPr/>
          <p:nvPr/>
        </p:nvSpPr>
        <p:spPr>
          <a:xfrm>
            <a:off x="9891167" y="5283851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chemeClr val="tx1"/>
                </a:solidFill>
                <a:latin typeface="Arial"/>
              </a:rPr>
              <a:t>14</a:t>
            </a:r>
          </a:p>
        </p:txBody>
      </p:sp>
      <p:sp>
        <p:nvSpPr>
          <p:cNvPr id="88" name="Rettangolo 87">
            <a:extLst>
              <a:ext uri="{FF2B5EF4-FFF2-40B4-BE49-F238E27FC236}">
                <a16:creationId xmlns:a16="http://schemas.microsoft.com/office/drawing/2014/main" id="{473874DB-D146-87BE-7603-A13E74681705}"/>
              </a:ext>
            </a:extLst>
          </p:cNvPr>
          <p:cNvSpPr/>
          <p:nvPr/>
        </p:nvSpPr>
        <p:spPr>
          <a:xfrm>
            <a:off x="9891167" y="5694792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chemeClr val="tx1"/>
                </a:solidFill>
                <a:latin typeface="Arial"/>
              </a:rPr>
              <a:t>4</a:t>
            </a:r>
          </a:p>
        </p:txBody>
      </p:sp>
      <p:sp>
        <p:nvSpPr>
          <p:cNvPr id="89" name="Rettangolo 88">
            <a:extLst>
              <a:ext uri="{FF2B5EF4-FFF2-40B4-BE49-F238E27FC236}">
                <a16:creationId xmlns:a16="http://schemas.microsoft.com/office/drawing/2014/main" id="{3BF48EBB-F3C3-1DD9-9DCC-8776D204A84C}"/>
              </a:ext>
            </a:extLst>
          </p:cNvPr>
          <p:cNvSpPr/>
          <p:nvPr/>
        </p:nvSpPr>
        <p:spPr>
          <a:xfrm>
            <a:off x="10911737" y="4867462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endParaRPr lang="it-IT" sz="1500" b="1" i="1">
              <a:solidFill>
                <a:schemeClr val="tx1"/>
              </a:solidFill>
              <a:latin typeface="Arial"/>
            </a:endParaRPr>
          </a:p>
        </p:txBody>
      </p:sp>
      <p:sp>
        <p:nvSpPr>
          <p:cNvPr id="90" name="Rettangolo 89">
            <a:extLst>
              <a:ext uri="{FF2B5EF4-FFF2-40B4-BE49-F238E27FC236}">
                <a16:creationId xmlns:a16="http://schemas.microsoft.com/office/drawing/2014/main" id="{F6887814-F969-0F7A-450C-22EA579ED1E2}"/>
              </a:ext>
            </a:extLst>
          </p:cNvPr>
          <p:cNvSpPr/>
          <p:nvPr/>
        </p:nvSpPr>
        <p:spPr>
          <a:xfrm>
            <a:off x="10911737" y="5283851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chemeClr val="tx1"/>
                </a:solidFill>
                <a:latin typeface="Arial"/>
              </a:rPr>
              <a:t>0</a:t>
            </a:r>
          </a:p>
        </p:txBody>
      </p:sp>
      <p:sp>
        <p:nvSpPr>
          <p:cNvPr id="91" name="Rettangolo 90">
            <a:extLst>
              <a:ext uri="{FF2B5EF4-FFF2-40B4-BE49-F238E27FC236}">
                <a16:creationId xmlns:a16="http://schemas.microsoft.com/office/drawing/2014/main" id="{930C0240-17A2-8999-CE06-3C61DCAC2D5F}"/>
              </a:ext>
            </a:extLst>
          </p:cNvPr>
          <p:cNvSpPr/>
          <p:nvPr/>
        </p:nvSpPr>
        <p:spPr>
          <a:xfrm>
            <a:off x="10911737" y="5694792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chemeClr val="tx1"/>
                </a:solidFill>
                <a:latin typeface="Arial"/>
              </a:rPr>
              <a:t>1</a:t>
            </a:r>
          </a:p>
        </p:txBody>
      </p:sp>
      <p:sp>
        <p:nvSpPr>
          <p:cNvPr id="92" name="CasellaDiTesto 91">
            <a:extLst>
              <a:ext uri="{FF2B5EF4-FFF2-40B4-BE49-F238E27FC236}">
                <a16:creationId xmlns:a16="http://schemas.microsoft.com/office/drawing/2014/main" id="{444D3A94-29B8-8280-72C5-C79A36DE8950}"/>
              </a:ext>
            </a:extLst>
          </p:cNvPr>
          <p:cNvSpPr txBox="1"/>
          <p:nvPr/>
        </p:nvSpPr>
        <p:spPr>
          <a:xfrm>
            <a:off x="6210301" y="4181614"/>
            <a:ext cx="6046705" cy="356142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 b="1" i="1">
                <a:latin typeface="Arial"/>
              </a:rPr>
              <a:t>Categorie di giudizio per Fondo</a:t>
            </a:r>
          </a:p>
        </p:txBody>
      </p:sp>
    </p:spTree>
    <p:extLst>
      <p:ext uri="{BB962C8B-B14F-4D97-AF65-F5344CB8AC3E}">
        <p14:creationId xmlns:p14="http://schemas.microsoft.com/office/powerpoint/2010/main" val="40621202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7972F3-EA35-5351-BA1D-B105914EA5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BD386E18-7A7D-D27B-C2E1-68D6FDAC7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43842B-A32A-49BD-A497-95FC235F58CB}" type="slidenum">
              <a:rPr lang="it-IT" smtClean="0">
                <a:solidFill>
                  <a:srgbClr val="002776"/>
                </a:solidFill>
              </a:rPr>
              <a:pPr/>
              <a:t>19</a:t>
            </a:fld>
            <a:endParaRPr lang="it-IT">
              <a:solidFill>
                <a:srgbClr val="002776"/>
              </a:solidFill>
            </a:endParaRPr>
          </a:p>
        </p:txBody>
      </p:sp>
      <p:sp>
        <p:nvSpPr>
          <p:cNvPr id="101" name="Rettangolo 100">
            <a:extLst>
              <a:ext uri="{FF2B5EF4-FFF2-40B4-BE49-F238E27FC236}">
                <a16:creationId xmlns:a16="http://schemas.microsoft.com/office/drawing/2014/main" id="{9034C767-4565-5F50-EFE5-3BD79FBADD78}"/>
              </a:ext>
            </a:extLst>
          </p:cNvPr>
          <p:cNvSpPr/>
          <p:nvPr/>
        </p:nvSpPr>
        <p:spPr bwMode="auto">
          <a:xfrm>
            <a:off x="768096" y="1048412"/>
            <a:ext cx="10323576" cy="5847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just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it-IT" sz="1600">
                <a:solidFill>
                  <a:srgbClr val="002776"/>
                </a:solidFill>
                <a:latin typeface="Arial" charset="0"/>
                <a:ea typeface="ＭＳ Ｐゴシック" charset="-128"/>
              </a:rPr>
              <a:t>Di seguito sono riepilogate per tematica i principali rilievi mossi dalle </a:t>
            </a:r>
            <a:r>
              <a:rPr lang="it-IT" sz="1600" err="1">
                <a:solidFill>
                  <a:srgbClr val="002776"/>
                </a:solidFill>
                <a:latin typeface="Arial" charset="0"/>
                <a:ea typeface="ＭＳ Ｐゴシック" charset="-128"/>
              </a:rPr>
              <a:t>AdA</a:t>
            </a:r>
            <a:r>
              <a:rPr lang="it-IT" sz="1600">
                <a:solidFill>
                  <a:srgbClr val="002776"/>
                </a:solidFill>
                <a:latin typeface="Arial" charset="0"/>
                <a:ea typeface="ＭＳ Ｐゴシック" charset="-128"/>
              </a:rPr>
              <a:t> verso le </a:t>
            </a:r>
            <a:r>
              <a:rPr lang="it-IT" sz="1600" err="1">
                <a:solidFill>
                  <a:srgbClr val="002776"/>
                </a:solidFill>
                <a:latin typeface="Arial" charset="0"/>
                <a:ea typeface="ＭＳ Ｐゴシック" charset="-128"/>
              </a:rPr>
              <a:t>AdG</a:t>
            </a:r>
            <a:r>
              <a:rPr lang="it-IT" sz="1600">
                <a:solidFill>
                  <a:srgbClr val="002776"/>
                </a:solidFill>
                <a:latin typeface="Arial" charset="0"/>
                <a:ea typeface="ＭＳ Ｐゴシック" charset="-128"/>
              </a:rPr>
              <a:t> nell’ambito degli Audit di Sistema, afferenti all’esame del RC4: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F9555385-5FCD-E0A7-C48E-B0BC30FA5852}"/>
              </a:ext>
            </a:extLst>
          </p:cNvPr>
          <p:cNvSpPr/>
          <p:nvPr/>
        </p:nvSpPr>
        <p:spPr>
          <a:xfrm>
            <a:off x="1524000" y="1829720"/>
            <a:ext cx="9144000" cy="3744416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prstClr val="white"/>
              </a:solidFill>
              <a:latin typeface="Arial"/>
            </a:endParaRPr>
          </a:p>
        </p:txBody>
      </p:sp>
      <p:graphicFrame>
        <p:nvGraphicFramePr>
          <p:cNvPr id="7" name="Chart 5">
            <a:extLst>
              <a:ext uri="{FF2B5EF4-FFF2-40B4-BE49-F238E27FC236}">
                <a16:creationId xmlns:a16="http://schemas.microsoft.com/office/drawing/2014/main" id="{15F0E2FE-E4FA-DA04-DF39-62D4993CD4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0565912"/>
              </p:ext>
            </p:extLst>
          </p:nvPr>
        </p:nvGraphicFramePr>
        <p:xfrm>
          <a:off x="2495600" y="1844824"/>
          <a:ext cx="7704856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ttangolo ad angolo ripiegato 4">
            <a:extLst>
              <a:ext uri="{FF2B5EF4-FFF2-40B4-BE49-F238E27FC236}">
                <a16:creationId xmlns:a16="http://schemas.microsoft.com/office/drawing/2014/main" id="{CABCB0A9-D653-3789-7432-7D6C6462734B}"/>
              </a:ext>
            </a:extLst>
          </p:cNvPr>
          <p:cNvSpPr/>
          <p:nvPr/>
        </p:nvSpPr>
        <p:spPr bwMode="auto">
          <a:xfrm>
            <a:off x="1559496" y="5229200"/>
            <a:ext cx="8928992" cy="216024"/>
          </a:xfrm>
          <a:prstGeom prst="foldedCorner">
            <a:avLst>
              <a:gd name="adj" fmla="val 0"/>
            </a:avLst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just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it-IT" sz="1050" i="1">
                <a:solidFill>
                  <a:schemeClr val="bg1"/>
                </a:solidFill>
                <a:latin typeface="Arial" charset="0"/>
                <a:ea typeface="ＭＳ Ｐゴシック" charset="-128"/>
              </a:rPr>
              <a:t>Rilevazione effettuata sulla base della valutazione del RC4 e dei rapporti di audit di sistema elaborati dalle </a:t>
            </a:r>
            <a:r>
              <a:rPr lang="it-IT" sz="1050" i="1" err="1">
                <a:solidFill>
                  <a:schemeClr val="bg1"/>
                </a:solidFill>
                <a:latin typeface="Arial" charset="0"/>
                <a:ea typeface="ＭＳ Ｐゴシック" charset="-128"/>
              </a:rPr>
              <a:t>AdA</a:t>
            </a:r>
            <a:r>
              <a:rPr lang="it-IT" sz="1050" i="1">
                <a:solidFill>
                  <a:schemeClr val="bg1"/>
                </a:solidFill>
                <a:latin typeface="Arial" charset="0"/>
                <a:ea typeface="ＭＳ Ｐゴシック" charset="-128"/>
              </a:rPr>
              <a:t> (III e IV periodo contabile)</a:t>
            </a:r>
          </a:p>
        </p:txBody>
      </p:sp>
      <p:sp>
        <p:nvSpPr>
          <p:cNvPr id="8" name="Sottotitolo 2">
            <a:extLst>
              <a:ext uri="{FF2B5EF4-FFF2-40B4-BE49-F238E27FC236}">
                <a16:creationId xmlns:a16="http://schemas.microsoft.com/office/drawing/2014/main" id="{659840DE-1F0C-00B0-BA6E-BDFCED674F55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18957172-00F5-CB52-89AE-4BE1055AA2AF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F69840-0290-A2C9-BBD6-11B8C7913BD6}"/>
              </a:ext>
            </a:extLst>
          </p:cNvPr>
          <p:cNvSpPr txBox="1">
            <a:spLocks/>
          </p:cNvSpPr>
          <p:nvPr/>
        </p:nvSpPr>
        <p:spPr>
          <a:xfrm>
            <a:off x="65335" y="381319"/>
            <a:ext cx="11729097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lvl="0">
              <a:defRPr/>
            </a:pPr>
            <a:r>
              <a:rPr lang="it-IT" sz="2800" b="1">
                <a:latin typeface="Arial" panose="020B0604020202020204" pitchFamily="34" charset="0"/>
                <a:cs typeface="Arial" panose="020B0604020202020204" pitchFamily="34" charset="0"/>
              </a:rPr>
              <a:t>Risultanze Requisito Chiave 4 nella Programmazione 21-27 (2/3) 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7513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DFCA84-ABB1-3BD1-8A3B-7C975AD49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A3418136-2590-52F7-57A3-96B52E41C0D3}"/>
              </a:ext>
            </a:extLst>
          </p:cNvPr>
          <p:cNvSpPr/>
          <p:nvPr/>
        </p:nvSpPr>
        <p:spPr bwMode="auto">
          <a:xfrm>
            <a:off x="0" y="-1"/>
            <a:ext cx="5960806" cy="61156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211B2A5B-E764-6A7B-19EC-F53D00A868CC}"/>
              </a:ext>
            </a:extLst>
          </p:cNvPr>
          <p:cNvSpPr/>
          <p:nvPr/>
        </p:nvSpPr>
        <p:spPr bwMode="auto">
          <a:xfrm>
            <a:off x="0" y="2171563"/>
            <a:ext cx="12192000" cy="2180303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-128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4EC62105-2DFD-276D-558C-0CD46A05B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406" y="2601763"/>
            <a:ext cx="11026140" cy="1319903"/>
          </a:xfrm>
        </p:spPr>
        <p:txBody>
          <a:bodyPr>
            <a:noAutofit/>
          </a:bodyPr>
          <a:lstStyle/>
          <a:p>
            <a:r>
              <a:rPr lang="en-US" sz="38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he</a:t>
            </a:r>
            <a:r>
              <a:rPr lang="en-US"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</a:t>
            </a:r>
            <a:r>
              <a:rPr lang="en-US" sz="38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e</a:t>
            </a:r>
            <a:r>
              <a:rPr lang="en-US"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8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ate</a:t>
            </a:r>
            <a:r>
              <a:rPr lang="en-US"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8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lla</a:t>
            </a:r>
            <a:r>
              <a:rPr lang="en-US"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8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tazione</a:t>
            </a:r>
            <a:r>
              <a:rPr lang="en-US"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8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i</a:t>
            </a:r>
            <a:r>
              <a:rPr lang="en-US"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8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chi</a:t>
            </a:r>
            <a:r>
              <a:rPr lang="en-US"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8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lla</a:t>
            </a:r>
            <a:r>
              <a:rPr lang="en-US"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8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azione</a:t>
            </a:r>
            <a:r>
              <a:rPr lang="en-US"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1-2027</a:t>
            </a:r>
            <a:endParaRPr lang="it-IT" sz="3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ottotitolo 2">
            <a:extLst>
              <a:ext uri="{FF2B5EF4-FFF2-40B4-BE49-F238E27FC236}">
                <a16:creationId xmlns:a16="http://schemas.microsoft.com/office/drawing/2014/main" id="{3E964A93-85D2-AE72-612E-46BCCFFFF52E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cs typeface="Arial" panose="020B0604020202020204" pitchFamily="34" charset="0"/>
            </a:endParaRPr>
          </a:p>
          <a:p>
            <a:r>
              <a:rPr lang="it-IT" sz="1000" kern="0">
                <a:cs typeface="Arial" panose="020B0604020202020204" pitchFamily="34" charset="0"/>
              </a:rPr>
              <a:t>Merano, 20 maggio 2026.</a:t>
            </a:r>
          </a:p>
        </p:txBody>
      </p:sp>
    </p:spTree>
    <p:extLst>
      <p:ext uri="{BB962C8B-B14F-4D97-AF65-F5344CB8AC3E}">
        <p14:creationId xmlns:p14="http://schemas.microsoft.com/office/powerpoint/2010/main" val="19364806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BB6B94-726A-7A2F-5C16-D3A52540E1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1F1F0A7C-5205-4DE5-809E-0700CD674C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C1804ED-787F-B4E6-DE18-B74016CF2850}"/>
              </a:ext>
            </a:extLst>
          </p:cNvPr>
          <p:cNvSpPr txBox="1">
            <a:spLocks/>
          </p:cNvSpPr>
          <p:nvPr/>
        </p:nvSpPr>
        <p:spPr>
          <a:xfrm>
            <a:off x="170565" y="384207"/>
            <a:ext cx="11155395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lvl="0">
              <a:defRPr/>
            </a:pPr>
            <a:r>
              <a:rPr lang="it-IT" sz="2800" b="1">
                <a:latin typeface="Arial" panose="020B0604020202020204" pitchFamily="34" charset="0"/>
                <a:cs typeface="Arial" panose="020B0604020202020204" pitchFamily="34" charset="0"/>
              </a:rPr>
              <a:t>Risultanze Requisito Chiave 4 nella Programmazione 21-27 (3/3) 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Sottotitolo 2">
            <a:extLst>
              <a:ext uri="{FF2B5EF4-FFF2-40B4-BE49-F238E27FC236}">
                <a16:creationId xmlns:a16="http://schemas.microsoft.com/office/drawing/2014/main" id="{A886D6C3-35D2-0235-2C31-745232B5534A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E9B8D0C6-DE14-346A-A5F2-0156A1809672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9" name="Elaborazione alternativa 8">
            <a:extLst>
              <a:ext uri="{FF2B5EF4-FFF2-40B4-BE49-F238E27FC236}">
                <a16:creationId xmlns:a16="http://schemas.microsoft.com/office/drawing/2014/main" id="{8C6BC051-3A1F-2FC8-0D8A-6905A8D70025}"/>
              </a:ext>
            </a:extLst>
          </p:cNvPr>
          <p:cNvSpPr/>
          <p:nvPr/>
        </p:nvSpPr>
        <p:spPr>
          <a:xfrm>
            <a:off x="496993" y="1034034"/>
            <a:ext cx="11155395" cy="907321"/>
          </a:xfrm>
          <a:prstGeom prst="flowChartAlternateProcess">
            <a:avLst/>
          </a:prstGeom>
          <a:solidFill>
            <a:srgbClr val="D9E6FF">
              <a:alpha val="43137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9A4634B2-CBCC-E39C-4222-DAE5F36FE629}"/>
              </a:ext>
            </a:extLst>
          </p:cNvPr>
          <p:cNvSpPr/>
          <p:nvPr/>
        </p:nvSpPr>
        <p:spPr>
          <a:xfrm>
            <a:off x="496992" y="1093274"/>
            <a:ext cx="1924833" cy="830997"/>
          </a:xfrm>
          <a:prstGeom prst="rect">
            <a:avLst/>
          </a:prstGeom>
          <a:solidFill>
            <a:srgbClr val="27348A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9367E0B5-D9FA-AAB0-3D93-44E78A37E77E}"/>
              </a:ext>
            </a:extLst>
          </p:cNvPr>
          <p:cNvSpPr txBox="1"/>
          <p:nvPr/>
        </p:nvSpPr>
        <p:spPr>
          <a:xfrm>
            <a:off x="539612" y="1080812"/>
            <a:ext cx="17890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riterio di Valutazione 4.2</a:t>
            </a:r>
          </a:p>
        </p:txBody>
      </p:sp>
      <p:sp>
        <p:nvSpPr>
          <p:cNvPr id="12" name="Isosceles Triangle 6">
            <a:extLst>
              <a:ext uri="{FF2B5EF4-FFF2-40B4-BE49-F238E27FC236}">
                <a16:creationId xmlns:a16="http://schemas.microsoft.com/office/drawing/2014/main" id="{0CD82282-8484-7DD3-78B8-532B66A07777}"/>
              </a:ext>
            </a:extLst>
          </p:cNvPr>
          <p:cNvSpPr>
            <a:spLocks noChangeAspect="1"/>
          </p:cNvSpPr>
          <p:nvPr/>
        </p:nvSpPr>
        <p:spPr>
          <a:xfrm rot="5400000">
            <a:off x="2415316" y="1395512"/>
            <a:ext cx="303914" cy="293930"/>
          </a:xfrm>
          <a:prstGeom prst="triangle">
            <a:avLst/>
          </a:prstGeom>
          <a:solidFill>
            <a:srgbClr val="27348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89409E4C-F5D9-6AFD-9038-61203EE00FA1}"/>
              </a:ext>
            </a:extLst>
          </p:cNvPr>
          <p:cNvSpPr txBox="1"/>
          <p:nvPr/>
        </p:nvSpPr>
        <p:spPr>
          <a:xfrm>
            <a:off x="2714238" y="1158661"/>
            <a:ext cx="88825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i="1">
                <a:latin typeface="Arial" panose="020B0604020202020204" pitchFamily="34" charset="0"/>
                <a:cs typeface="Arial" panose="020B0604020202020204" pitchFamily="34" charset="0"/>
              </a:rPr>
              <a:t>L’</a:t>
            </a:r>
            <a:r>
              <a:rPr lang="it-IT" i="1" err="1">
                <a:latin typeface="Arial" panose="020B0604020202020204" pitchFamily="34" charset="0"/>
                <a:cs typeface="Arial" panose="020B0604020202020204" pitchFamily="34" charset="0"/>
              </a:rPr>
              <a:t>AdG</a:t>
            </a:r>
            <a:r>
              <a:rPr lang="it-IT" i="1">
                <a:latin typeface="Arial" panose="020B0604020202020204" pitchFamily="34" charset="0"/>
                <a:cs typeface="Arial" panose="020B0604020202020204" pitchFamily="34" charset="0"/>
              </a:rPr>
              <a:t> o i suoi OI effettuano </a:t>
            </a:r>
            <a:r>
              <a:rPr lang="it-IT" b="1" i="1">
                <a:latin typeface="Arial" panose="020B0604020202020204" pitchFamily="34" charset="0"/>
                <a:cs typeface="Arial" panose="020B0604020202020204" pitchFamily="34" charset="0"/>
              </a:rPr>
              <a:t>verifiche di gestione basate sul rischio</a:t>
            </a:r>
            <a:r>
              <a:rPr lang="it-IT" i="1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  <a:endParaRPr lang="it-IT" b="1" i="1" u="sn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Grafico 21">
            <a:extLst>
              <a:ext uri="{FF2B5EF4-FFF2-40B4-BE49-F238E27FC236}">
                <a16:creationId xmlns:a16="http://schemas.microsoft.com/office/drawing/2014/main" id="{942517FE-87EF-6D43-097D-2118AFBCBB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1622990"/>
              </p:ext>
            </p:extLst>
          </p:nvPr>
        </p:nvGraphicFramePr>
        <p:xfrm>
          <a:off x="1" y="2095323"/>
          <a:ext cx="4370832" cy="38978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Box 13">
            <a:extLst>
              <a:ext uri="{FF2B5EF4-FFF2-40B4-BE49-F238E27FC236}">
                <a16:creationId xmlns:a16="http://schemas.microsoft.com/office/drawing/2014/main" id="{9D894D35-DB26-795E-A63C-A31AA6B264B6}"/>
              </a:ext>
            </a:extLst>
          </p:cNvPr>
          <p:cNvSpPr txBox="1"/>
          <p:nvPr/>
        </p:nvSpPr>
        <p:spPr>
          <a:xfrm>
            <a:off x="4032505" y="5001768"/>
            <a:ext cx="7619883" cy="1075182"/>
          </a:xfrm>
          <a:prstGeom prst="rect">
            <a:avLst/>
          </a:prstGeom>
          <a:solidFill>
            <a:srgbClr val="FFF2C1"/>
          </a:solidFill>
          <a:ln w="19050">
            <a:solidFill>
              <a:srgbClr val="FFCC05"/>
            </a:solidFill>
            <a:prstDash val="sysDash"/>
          </a:ln>
        </p:spPr>
        <p:txBody>
          <a:bodyPr wrap="square" rtlCol="0" anchor="ctr">
            <a:noAutofit/>
          </a:bodyPr>
          <a:lstStyle/>
          <a:p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Dei 28 Programmi analizzati per il Requisito Chiave 4, solo </a:t>
            </a:r>
            <a:r>
              <a:rPr lang="it-IT" sz="1600" b="1"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sono stati sottoposti ad audit sul Criterio 4.2: 8 valutati in Categoria 2 e 2 in Categoria 3.</a:t>
            </a:r>
          </a:p>
          <a:p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Per la maggior parte dei Programmi non risultano ancora svolti  audit di sistema sul criterio 4.2</a:t>
            </a:r>
            <a:r>
              <a:rPr lang="it-IT" sz="1600"/>
              <a:t>.</a:t>
            </a:r>
            <a:endParaRPr lang="it-IT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189F8B5F-5CA1-C2D4-8B2E-828B4E065BBA}"/>
              </a:ext>
            </a:extLst>
          </p:cNvPr>
          <p:cNvSpPr txBox="1"/>
          <p:nvPr/>
        </p:nvSpPr>
        <p:spPr>
          <a:xfrm>
            <a:off x="4032505" y="1969609"/>
            <a:ext cx="7665728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Osservazioni riscontrate negli Audit:</a:t>
            </a:r>
          </a:p>
          <a:p>
            <a:pPr marL="342900" indent="-342900">
              <a:buAutoNum type="alphaUcParenR"/>
            </a:pPr>
            <a:r>
              <a:rPr lang="it-IT" sz="1500" b="1">
                <a:latin typeface="Arial" panose="020B0604020202020204" pitchFamily="34" charset="0"/>
                <a:cs typeface="Arial" panose="020B0604020202020204" pitchFamily="34" charset="0"/>
              </a:rPr>
              <a:t>Risk </a:t>
            </a:r>
            <a:r>
              <a:rPr lang="it-IT" sz="1500" b="1" err="1"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it-IT" sz="15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500" b="1" err="1"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lang="it-IT" sz="1500">
                <a:latin typeface="Arial" panose="020B0604020202020204" pitchFamily="34" charset="0"/>
                <a:cs typeface="Arial" panose="020B0604020202020204" pitchFamily="34" charset="0"/>
              </a:rPr>
              <a:t>: le </a:t>
            </a:r>
            <a:r>
              <a:rPr lang="it-IT" sz="1500" err="1">
                <a:latin typeface="Arial" panose="020B0604020202020204" pitchFamily="34" charset="0"/>
                <a:cs typeface="Arial" panose="020B0604020202020204" pitchFamily="34" charset="0"/>
              </a:rPr>
              <a:t>AdA</a:t>
            </a:r>
            <a:r>
              <a:rPr lang="it-IT" sz="1500">
                <a:latin typeface="Arial" panose="020B0604020202020204" pitchFamily="34" charset="0"/>
                <a:cs typeface="Arial" panose="020B0604020202020204" pitchFamily="34" charset="0"/>
              </a:rPr>
              <a:t> hanno formulato principalmente 2 tipologie di osservazioni relative 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>
                <a:latin typeface="Arial" panose="020B0604020202020204" pitchFamily="34" charset="0"/>
                <a:cs typeface="Arial" panose="020B0604020202020204" pitchFamily="34" charset="0"/>
              </a:rPr>
              <a:t>l’effettiva applicazione della metodologia approvata e la relativa revisione periodic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>
                <a:latin typeface="Arial" panose="020B0604020202020204" pitchFamily="34" charset="0"/>
                <a:cs typeface="Arial" panose="020B0604020202020204" pitchFamily="34" charset="0"/>
              </a:rPr>
              <a:t>la definizione più chiara dei criteri di campionamento, dei controlli svolti a campione e della metodologia di analisi del rischio.</a:t>
            </a:r>
          </a:p>
          <a:p>
            <a:r>
              <a:rPr lang="it-IT" sz="1500" b="1">
                <a:latin typeface="Arial" panose="020B0604020202020204" pitchFamily="34" charset="0"/>
                <a:cs typeface="Arial" panose="020B0604020202020204" pitchFamily="34" charset="0"/>
              </a:rPr>
              <a:t>B) Manualistica</a:t>
            </a:r>
            <a:r>
              <a:rPr lang="it-IT" sz="1500">
                <a:latin typeface="Arial" panose="020B0604020202020204" pitchFamily="34" charset="0"/>
                <a:cs typeface="Arial" panose="020B0604020202020204" pitchFamily="34" charset="0"/>
              </a:rPr>
              <a:t>: aggiornamento della Manualistica in coerenza con quanto previsto nell’ambito della metodologia di analisi del rischio.</a:t>
            </a:r>
          </a:p>
          <a:p>
            <a:r>
              <a:rPr lang="it-IT" sz="1500" b="1">
                <a:latin typeface="Arial" panose="020B0604020202020204" pitchFamily="34" charset="0"/>
                <a:cs typeface="Arial" panose="020B0604020202020204" pitchFamily="34" charset="0"/>
              </a:rPr>
              <a:t>C) Formazione Personale</a:t>
            </a:r>
            <a:r>
              <a:rPr lang="it-IT" sz="1500">
                <a:latin typeface="Arial" panose="020B0604020202020204" pitchFamily="34" charset="0"/>
                <a:cs typeface="Arial" panose="020B0604020202020204" pitchFamily="34" charset="0"/>
              </a:rPr>
              <a:t>: rafforzamento del</a:t>
            </a:r>
            <a:r>
              <a:rPr lang="it-IT" sz="1500"/>
              <a:t>le competenze degli operatori coinvolti nei controlli in relazione all’esecuzione dell’analisi del rischio.</a:t>
            </a:r>
            <a:endParaRPr lang="it-IT" sz="15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500" b="1">
                <a:latin typeface="Arial" panose="020B0604020202020204" pitchFamily="34" charset="0"/>
                <a:cs typeface="Arial" panose="020B0604020202020204" pitchFamily="34" charset="0"/>
              </a:rPr>
              <a:t>D) Controlli e sistemi IT</a:t>
            </a:r>
            <a:r>
              <a:rPr lang="it-IT" sz="1500">
                <a:latin typeface="Arial" panose="020B0604020202020204" pitchFamily="34" charset="0"/>
                <a:cs typeface="Arial" panose="020B0604020202020204" pitchFamily="34" charset="0"/>
              </a:rPr>
              <a:t>: r</a:t>
            </a:r>
            <a:r>
              <a:rPr lang="it-IT" sz="1500"/>
              <a:t>afforzare gli strumenti informatici a supporto dell’analisi dei dati per l’esecuzione dell’analisi del rischio (</a:t>
            </a:r>
            <a:r>
              <a:rPr lang="it-IT" sz="1500" err="1"/>
              <a:t>Arachne</a:t>
            </a:r>
            <a:r>
              <a:rPr lang="it-IT" sz="1500"/>
              <a:t>) e dell’estrazione del campione.</a:t>
            </a:r>
            <a:endParaRPr lang="it-IT" sz="15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87623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831038A7-7101-4587-530A-BCAEF0ED546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7472"/>
          <a:stretch/>
        </p:blipFill>
        <p:spPr>
          <a:xfrm>
            <a:off x="6880860" y="2126932"/>
            <a:ext cx="4530370" cy="3816667"/>
          </a:xfrm>
          <a:prstGeom prst="rect">
            <a:avLst/>
          </a:prstGeom>
          <a:noFill/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B7368E-B277-1AC8-784A-935D6F4DFDF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80000" y="2228850"/>
            <a:ext cx="5520000" cy="3714750"/>
          </a:xfrm>
        </p:spPr>
        <p:txBody>
          <a:bodyPr/>
          <a:lstStyle/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b="1" err="1">
                <a:latin typeface="Arial" panose="020B0604020202020204" pitchFamily="34" charset="0"/>
                <a:cs typeface="Arial" panose="020B0604020202020204" pitchFamily="34" charset="0"/>
              </a:rPr>
              <a:t>Contatti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Dott. Paolo Fischetti </a:t>
            </a:r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E-mail: paolo.Fischetti@mef.gov.it</a:t>
            </a:r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IGRUE -  Ufficio XI</a:t>
            </a: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D129D2D4-1011-1583-281E-46FEFBADBA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134" y="324493"/>
            <a:ext cx="11179731" cy="1191344"/>
          </a:xfrm>
        </p:spPr>
        <p:txBody>
          <a:bodyPr>
            <a:normAutofit/>
          </a:bodyPr>
          <a:lstStyle/>
          <a:p>
            <a:r>
              <a:rPr lang="it-IT" sz="5400" b="1" i="1">
                <a:latin typeface="Arial" panose="020B0604020202020204" pitchFamily="34" charset="0"/>
                <a:cs typeface="Arial" panose="020B0604020202020204" pitchFamily="34" charset="0"/>
              </a:rPr>
              <a:t>Grazie per l’attenzione</a:t>
            </a:r>
          </a:p>
        </p:txBody>
      </p:sp>
      <p:pic>
        <p:nvPicPr>
          <p:cNvPr id="8" name="Immagine 7" descr="Immagine che contiene linea, schermata, blu, Blu elettrico&#10;&#10;Il contenuto generato dall'IA potrebbe non essere corretto.">
            <a:extLst>
              <a:ext uri="{FF2B5EF4-FFF2-40B4-BE49-F238E27FC236}">
                <a16:creationId xmlns:a16="http://schemas.microsoft.com/office/drawing/2014/main" id="{82EDD7E8-04B7-8C99-C8D3-8EEADF3763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134" y="1877157"/>
            <a:ext cx="879231" cy="879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156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9E38F0-F821-0D4C-ED53-3C70EDD9D5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81BB4C51-CD76-845E-AD15-C7F44516B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06D0E9F-DC17-050C-C7B0-CF86DE0D88DA}"/>
              </a:ext>
            </a:extLst>
          </p:cNvPr>
          <p:cNvSpPr txBox="1">
            <a:spLocks/>
          </p:cNvSpPr>
          <p:nvPr/>
        </p:nvSpPr>
        <p:spPr>
          <a:xfrm>
            <a:off x="462903" y="393797"/>
            <a:ext cx="10195200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0" cap="small" spc="0" normalizeH="0" baseline="0" noProof="0">
                <a:ln>
                  <a:noFill/>
                </a:ln>
                <a:solidFill>
                  <a:srgbClr val="0B306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mbito di indagine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75408080-ED81-2DF5-302F-958E1BB8A3E7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5" name="Sottotitolo 2">
            <a:extLst>
              <a:ext uri="{FF2B5EF4-FFF2-40B4-BE49-F238E27FC236}">
                <a16:creationId xmlns:a16="http://schemas.microsoft.com/office/drawing/2014/main" id="{02282CC6-FE1A-C89D-9748-BBEBB9F1E541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2383217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8" name="Elaborazione alternativa 7">
            <a:extLst>
              <a:ext uri="{FF2B5EF4-FFF2-40B4-BE49-F238E27FC236}">
                <a16:creationId xmlns:a16="http://schemas.microsoft.com/office/drawing/2014/main" id="{38C28CAA-C3B4-A055-6550-094DDE73CB41}"/>
              </a:ext>
            </a:extLst>
          </p:cNvPr>
          <p:cNvSpPr/>
          <p:nvPr/>
        </p:nvSpPr>
        <p:spPr>
          <a:xfrm>
            <a:off x="496993" y="986409"/>
            <a:ext cx="11155395" cy="907321"/>
          </a:xfrm>
          <a:prstGeom prst="flowChartAlternateProcess">
            <a:avLst/>
          </a:prstGeom>
          <a:solidFill>
            <a:srgbClr val="D9E6FF">
              <a:alpha val="43137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611CD3D0-9F14-1A48-7468-E6ACBF4B0EED}"/>
              </a:ext>
            </a:extLst>
          </p:cNvPr>
          <p:cNvSpPr txBox="1"/>
          <p:nvPr/>
        </p:nvSpPr>
        <p:spPr>
          <a:xfrm>
            <a:off x="741546" y="1040549"/>
            <a:ext cx="108313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L’analisi di basa sui dati raccolti con il supporto delle </a:t>
            </a:r>
            <a:r>
              <a:rPr lang="it-IT" sz="1600" err="1">
                <a:latin typeface="Arial" panose="020B0604020202020204" pitchFamily="34" charset="0"/>
                <a:cs typeface="Arial" panose="020B0604020202020204" pitchFamily="34" charset="0"/>
              </a:rPr>
              <a:t>AdA</a:t>
            </a: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 in relazione all’esecuzione di verifiche di gestione a campione nell’ambito di </a:t>
            </a:r>
            <a:r>
              <a:rPr lang="it-IT" sz="1600" b="1">
                <a:latin typeface="Arial" panose="020B0604020202020204" pitchFamily="34" charset="0"/>
                <a:cs typeface="Arial" panose="020B0604020202020204" pitchFamily="34" charset="0"/>
              </a:rPr>
              <a:t>49 Programmi</a:t>
            </a: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 cofinanziati da fondi SIE a livello nazionale e regionale. Il periodo temporale copre dal primo al quinto periodo contabile (1/01/2021 – 30/06/2026) </a:t>
            </a:r>
          </a:p>
        </p:txBody>
      </p:sp>
      <p:grpSp>
        <p:nvGrpSpPr>
          <p:cNvPr id="46" name="Groupe 1">
            <a:extLst>
              <a:ext uri="{FF2B5EF4-FFF2-40B4-BE49-F238E27FC236}">
                <a16:creationId xmlns:a16="http://schemas.microsoft.com/office/drawing/2014/main" id="{BAF9A3CE-BA71-082C-8F29-23431903B0B6}"/>
              </a:ext>
            </a:extLst>
          </p:cNvPr>
          <p:cNvGrpSpPr/>
          <p:nvPr/>
        </p:nvGrpSpPr>
        <p:grpSpPr>
          <a:xfrm>
            <a:off x="810081" y="2166229"/>
            <a:ext cx="1228270" cy="878640"/>
            <a:chOff x="4136627" y="2734860"/>
            <a:chExt cx="2110791" cy="1335778"/>
          </a:xfrm>
        </p:grpSpPr>
        <p:sp>
          <p:nvSpPr>
            <p:cNvPr id="47" name="Forme libre : forme 22">
              <a:extLst>
                <a:ext uri="{FF2B5EF4-FFF2-40B4-BE49-F238E27FC236}">
                  <a16:creationId xmlns:a16="http://schemas.microsoft.com/office/drawing/2014/main" id="{2EF9E44D-67A6-5E9E-221E-C86A84C906F1}"/>
                </a:ext>
              </a:extLst>
            </p:cNvPr>
            <p:cNvSpPr/>
            <p:nvPr/>
          </p:nvSpPr>
          <p:spPr>
            <a:xfrm flipH="1">
              <a:off x="4136627" y="2734860"/>
              <a:ext cx="1817867" cy="1318520"/>
            </a:xfrm>
            <a:custGeom>
              <a:avLst/>
              <a:gdLst>
                <a:gd name="connsiteX0" fmla="*/ 1168903 w 1817867"/>
                <a:gd name="connsiteY0" fmla="*/ 0 h 1318520"/>
                <a:gd name="connsiteX1" fmla="*/ 1168897 w 1817867"/>
                <a:gd name="connsiteY1" fmla="*/ 5 h 1318520"/>
                <a:gd name="connsiteX2" fmla="*/ 1164494 w 1817867"/>
                <a:gd name="connsiteY2" fmla="*/ 5 h 1318520"/>
                <a:gd name="connsiteX3" fmla="*/ 1163518 w 1817867"/>
                <a:gd name="connsiteY3" fmla="*/ 4367 h 1318520"/>
                <a:gd name="connsiteX4" fmla="*/ 941742 w 1817867"/>
                <a:gd name="connsiteY4" fmla="*/ 184223 h 1318520"/>
                <a:gd name="connsiteX5" fmla="*/ 240301 w 1817867"/>
                <a:gd name="connsiteY5" fmla="*/ 184223 h 1318520"/>
                <a:gd name="connsiteX6" fmla="*/ 0 w 1817867"/>
                <a:gd name="connsiteY6" fmla="*/ 1318520 h 1318520"/>
                <a:gd name="connsiteX7" fmla="*/ 1498589 w 1817867"/>
                <a:gd name="connsiteY7" fmla="*/ 1318520 h 1318520"/>
                <a:gd name="connsiteX8" fmla="*/ 1498589 w 1817867"/>
                <a:gd name="connsiteY8" fmla="*/ 1318519 h 1318520"/>
                <a:gd name="connsiteX9" fmla="*/ 1554139 w 1817867"/>
                <a:gd name="connsiteY9" fmla="*/ 1318519 h 1318520"/>
                <a:gd name="connsiteX10" fmla="*/ 1817867 w 1817867"/>
                <a:gd name="connsiteY10" fmla="*/ 139977 h 1318520"/>
                <a:gd name="connsiteX11" fmla="*/ 1681103 w 1817867"/>
                <a:gd name="connsiteY11" fmla="*/ 5 h 1318520"/>
                <a:gd name="connsiteX12" fmla="*/ 1168903 w 1817867"/>
                <a:gd name="connsiteY12" fmla="*/ 5 h 131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7867" h="1318520">
                  <a:moveTo>
                    <a:pt x="1168903" y="0"/>
                  </a:moveTo>
                  <a:lnTo>
                    <a:pt x="1168897" y="5"/>
                  </a:lnTo>
                  <a:lnTo>
                    <a:pt x="1164494" y="5"/>
                  </a:lnTo>
                  <a:lnTo>
                    <a:pt x="1163518" y="4367"/>
                  </a:lnTo>
                  <a:lnTo>
                    <a:pt x="941742" y="184223"/>
                  </a:lnTo>
                  <a:lnTo>
                    <a:pt x="240301" y="184223"/>
                  </a:lnTo>
                  <a:lnTo>
                    <a:pt x="0" y="1318520"/>
                  </a:lnTo>
                  <a:lnTo>
                    <a:pt x="1498589" y="1318520"/>
                  </a:lnTo>
                  <a:lnTo>
                    <a:pt x="1498589" y="1318519"/>
                  </a:lnTo>
                  <a:lnTo>
                    <a:pt x="1554139" y="1318519"/>
                  </a:lnTo>
                  <a:lnTo>
                    <a:pt x="1817867" y="139977"/>
                  </a:lnTo>
                  <a:lnTo>
                    <a:pt x="1681103" y="5"/>
                  </a:lnTo>
                  <a:lnTo>
                    <a:pt x="1168903" y="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Rectangle 4">
              <a:extLst>
                <a:ext uri="{FF2B5EF4-FFF2-40B4-BE49-F238E27FC236}">
                  <a16:creationId xmlns:a16="http://schemas.microsoft.com/office/drawing/2014/main" id="{3BA0DEB3-79A5-CFCB-D463-5E28BDC44755}"/>
                </a:ext>
              </a:extLst>
            </p:cNvPr>
            <p:cNvSpPr/>
            <p:nvPr/>
          </p:nvSpPr>
          <p:spPr>
            <a:xfrm>
              <a:off x="4398229" y="3111690"/>
              <a:ext cx="1405719" cy="941695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Rectangle 5">
              <a:extLst>
                <a:ext uri="{FF2B5EF4-FFF2-40B4-BE49-F238E27FC236}">
                  <a16:creationId xmlns:a16="http://schemas.microsoft.com/office/drawing/2014/main" id="{9D814691-AA21-9A13-E5FF-C2F057AFCCB8}"/>
                </a:ext>
              </a:extLst>
            </p:cNvPr>
            <p:cNvSpPr/>
            <p:nvPr/>
          </p:nvSpPr>
          <p:spPr>
            <a:xfrm rot="335292">
              <a:off x="4468035" y="3042682"/>
              <a:ext cx="1405719" cy="941695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ctangle 6">
              <a:extLst>
                <a:ext uri="{FF2B5EF4-FFF2-40B4-BE49-F238E27FC236}">
                  <a16:creationId xmlns:a16="http://schemas.microsoft.com/office/drawing/2014/main" id="{40F6522D-C381-EE07-4A57-5033F3FFFEEE}"/>
                </a:ext>
              </a:extLst>
            </p:cNvPr>
            <p:cNvSpPr/>
            <p:nvPr/>
          </p:nvSpPr>
          <p:spPr>
            <a:xfrm rot="775497">
              <a:off x="4540330" y="2965048"/>
              <a:ext cx="1405719" cy="941695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orme libre : forme 23">
              <a:extLst>
                <a:ext uri="{FF2B5EF4-FFF2-40B4-BE49-F238E27FC236}">
                  <a16:creationId xmlns:a16="http://schemas.microsoft.com/office/drawing/2014/main" id="{595B89DB-D4D1-639B-98C0-D7804A1F1B49}"/>
                </a:ext>
              </a:extLst>
            </p:cNvPr>
            <p:cNvSpPr/>
            <p:nvPr/>
          </p:nvSpPr>
          <p:spPr>
            <a:xfrm>
              <a:off x="4398229" y="2838375"/>
              <a:ext cx="1849189" cy="1232263"/>
            </a:xfrm>
            <a:custGeom>
              <a:avLst/>
              <a:gdLst>
                <a:gd name="connsiteX0" fmla="*/ 1168903 w 1849189"/>
                <a:gd name="connsiteY0" fmla="*/ 0 h 1232263"/>
                <a:gd name="connsiteX1" fmla="*/ 1168903 w 1849189"/>
                <a:gd name="connsiteY1" fmla="*/ 4 h 1232263"/>
                <a:gd name="connsiteX2" fmla="*/ 1849189 w 1849189"/>
                <a:gd name="connsiteY2" fmla="*/ 4 h 1232263"/>
                <a:gd name="connsiteX3" fmla="*/ 1554139 w 1849189"/>
                <a:gd name="connsiteY3" fmla="*/ 1232262 h 1232263"/>
                <a:gd name="connsiteX4" fmla="*/ 1514310 w 1849189"/>
                <a:gd name="connsiteY4" fmla="*/ 1232262 h 1232263"/>
                <a:gd name="connsiteX5" fmla="*/ 1514310 w 1849189"/>
                <a:gd name="connsiteY5" fmla="*/ 1232263 h 1232263"/>
                <a:gd name="connsiteX6" fmla="*/ 0 w 1849189"/>
                <a:gd name="connsiteY6" fmla="*/ 1232263 h 1232263"/>
                <a:gd name="connsiteX7" fmla="*/ 224580 w 1849189"/>
                <a:gd name="connsiteY7" fmla="*/ 172171 h 1232263"/>
                <a:gd name="connsiteX8" fmla="*/ 1123271 w 1849189"/>
                <a:gd name="connsiteY8" fmla="*/ 172171 h 1232263"/>
                <a:gd name="connsiteX9" fmla="*/ 1123271 w 1849189"/>
                <a:gd name="connsiteY9" fmla="*/ 172170 h 1232263"/>
                <a:gd name="connsiteX10" fmla="*/ 941742 w 1849189"/>
                <a:gd name="connsiteY10" fmla="*/ 172170 h 1232263"/>
                <a:gd name="connsiteX11" fmla="*/ 1163518 w 1849189"/>
                <a:gd name="connsiteY11" fmla="*/ 4082 h 1232263"/>
                <a:gd name="connsiteX12" fmla="*/ 1164494 w 1849189"/>
                <a:gd name="connsiteY12" fmla="*/ 4 h 1232263"/>
                <a:gd name="connsiteX13" fmla="*/ 1168898 w 1849189"/>
                <a:gd name="connsiteY13" fmla="*/ 4 h 1232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49189" h="1232263">
                  <a:moveTo>
                    <a:pt x="1168903" y="0"/>
                  </a:moveTo>
                  <a:lnTo>
                    <a:pt x="1168903" y="4"/>
                  </a:lnTo>
                  <a:lnTo>
                    <a:pt x="1849189" y="4"/>
                  </a:lnTo>
                  <a:lnTo>
                    <a:pt x="1554139" y="1232262"/>
                  </a:lnTo>
                  <a:lnTo>
                    <a:pt x="1514310" y="1232262"/>
                  </a:lnTo>
                  <a:lnTo>
                    <a:pt x="1514310" y="1232263"/>
                  </a:lnTo>
                  <a:lnTo>
                    <a:pt x="0" y="1232263"/>
                  </a:lnTo>
                  <a:lnTo>
                    <a:pt x="224580" y="172171"/>
                  </a:lnTo>
                  <a:lnTo>
                    <a:pt x="1123271" y="172171"/>
                  </a:lnTo>
                  <a:lnTo>
                    <a:pt x="1123271" y="172170"/>
                  </a:lnTo>
                  <a:lnTo>
                    <a:pt x="941742" y="172170"/>
                  </a:lnTo>
                  <a:lnTo>
                    <a:pt x="1163518" y="4082"/>
                  </a:lnTo>
                  <a:lnTo>
                    <a:pt x="1164494" y="4"/>
                  </a:lnTo>
                  <a:lnTo>
                    <a:pt x="1168898" y="4"/>
                  </a:lnTo>
                  <a:close/>
                </a:path>
              </a:pathLst>
            </a:custGeom>
            <a:solidFill>
              <a:srgbClr val="0066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orme libre : forme 25">
              <a:extLst>
                <a:ext uri="{FF2B5EF4-FFF2-40B4-BE49-F238E27FC236}">
                  <a16:creationId xmlns:a16="http://schemas.microsoft.com/office/drawing/2014/main" id="{54667778-15EB-E421-B001-EEC481AE0D64}"/>
                </a:ext>
              </a:extLst>
            </p:cNvPr>
            <p:cNvSpPr/>
            <p:nvPr/>
          </p:nvSpPr>
          <p:spPr>
            <a:xfrm>
              <a:off x="4398229" y="3713721"/>
              <a:ext cx="1635329" cy="356915"/>
            </a:xfrm>
            <a:custGeom>
              <a:avLst/>
              <a:gdLst>
                <a:gd name="connsiteX0" fmla="*/ 1639597 w 1639597"/>
                <a:gd name="connsiteY0" fmla="*/ 0 h 356915"/>
                <a:gd name="connsiteX1" fmla="*/ 1554137 w 1639597"/>
                <a:gd name="connsiteY1" fmla="*/ 356915 h 356915"/>
                <a:gd name="connsiteX2" fmla="*/ 0 w 1639597"/>
                <a:gd name="connsiteY2" fmla="*/ 356915 h 356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9597" h="356915">
                  <a:moveTo>
                    <a:pt x="1639597" y="0"/>
                  </a:moveTo>
                  <a:lnTo>
                    <a:pt x="1554137" y="356915"/>
                  </a:lnTo>
                  <a:lnTo>
                    <a:pt x="0" y="35691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3" name="Groupe 1">
            <a:extLst>
              <a:ext uri="{FF2B5EF4-FFF2-40B4-BE49-F238E27FC236}">
                <a16:creationId xmlns:a16="http://schemas.microsoft.com/office/drawing/2014/main" id="{FBA61E5C-8E0E-57F6-E3AC-AF60C0C45AFA}"/>
              </a:ext>
            </a:extLst>
          </p:cNvPr>
          <p:cNvGrpSpPr/>
          <p:nvPr/>
        </p:nvGrpSpPr>
        <p:grpSpPr>
          <a:xfrm>
            <a:off x="810081" y="3170903"/>
            <a:ext cx="1228270" cy="878640"/>
            <a:chOff x="4136627" y="2734860"/>
            <a:chExt cx="2110791" cy="1335778"/>
          </a:xfrm>
        </p:grpSpPr>
        <p:sp>
          <p:nvSpPr>
            <p:cNvPr id="54" name="Forme libre : forme 22">
              <a:extLst>
                <a:ext uri="{FF2B5EF4-FFF2-40B4-BE49-F238E27FC236}">
                  <a16:creationId xmlns:a16="http://schemas.microsoft.com/office/drawing/2014/main" id="{6E2D4162-19DA-24BD-422B-13936B54C3C6}"/>
                </a:ext>
              </a:extLst>
            </p:cNvPr>
            <p:cNvSpPr/>
            <p:nvPr/>
          </p:nvSpPr>
          <p:spPr>
            <a:xfrm flipH="1">
              <a:off x="4136627" y="2734860"/>
              <a:ext cx="1817867" cy="1318520"/>
            </a:xfrm>
            <a:custGeom>
              <a:avLst/>
              <a:gdLst>
                <a:gd name="connsiteX0" fmla="*/ 1168903 w 1817867"/>
                <a:gd name="connsiteY0" fmla="*/ 0 h 1318520"/>
                <a:gd name="connsiteX1" fmla="*/ 1168897 w 1817867"/>
                <a:gd name="connsiteY1" fmla="*/ 5 h 1318520"/>
                <a:gd name="connsiteX2" fmla="*/ 1164494 w 1817867"/>
                <a:gd name="connsiteY2" fmla="*/ 5 h 1318520"/>
                <a:gd name="connsiteX3" fmla="*/ 1163518 w 1817867"/>
                <a:gd name="connsiteY3" fmla="*/ 4367 h 1318520"/>
                <a:gd name="connsiteX4" fmla="*/ 941742 w 1817867"/>
                <a:gd name="connsiteY4" fmla="*/ 184223 h 1318520"/>
                <a:gd name="connsiteX5" fmla="*/ 240301 w 1817867"/>
                <a:gd name="connsiteY5" fmla="*/ 184223 h 1318520"/>
                <a:gd name="connsiteX6" fmla="*/ 0 w 1817867"/>
                <a:gd name="connsiteY6" fmla="*/ 1318520 h 1318520"/>
                <a:gd name="connsiteX7" fmla="*/ 1498589 w 1817867"/>
                <a:gd name="connsiteY7" fmla="*/ 1318520 h 1318520"/>
                <a:gd name="connsiteX8" fmla="*/ 1498589 w 1817867"/>
                <a:gd name="connsiteY8" fmla="*/ 1318519 h 1318520"/>
                <a:gd name="connsiteX9" fmla="*/ 1554139 w 1817867"/>
                <a:gd name="connsiteY9" fmla="*/ 1318519 h 1318520"/>
                <a:gd name="connsiteX10" fmla="*/ 1817867 w 1817867"/>
                <a:gd name="connsiteY10" fmla="*/ 139977 h 1318520"/>
                <a:gd name="connsiteX11" fmla="*/ 1681103 w 1817867"/>
                <a:gd name="connsiteY11" fmla="*/ 5 h 1318520"/>
                <a:gd name="connsiteX12" fmla="*/ 1168903 w 1817867"/>
                <a:gd name="connsiteY12" fmla="*/ 5 h 131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7867" h="1318520">
                  <a:moveTo>
                    <a:pt x="1168903" y="0"/>
                  </a:moveTo>
                  <a:lnTo>
                    <a:pt x="1168897" y="5"/>
                  </a:lnTo>
                  <a:lnTo>
                    <a:pt x="1164494" y="5"/>
                  </a:lnTo>
                  <a:lnTo>
                    <a:pt x="1163518" y="4367"/>
                  </a:lnTo>
                  <a:lnTo>
                    <a:pt x="941742" y="184223"/>
                  </a:lnTo>
                  <a:lnTo>
                    <a:pt x="240301" y="184223"/>
                  </a:lnTo>
                  <a:lnTo>
                    <a:pt x="0" y="1318520"/>
                  </a:lnTo>
                  <a:lnTo>
                    <a:pt x="1498589" y="1318520"/>
                  </a:lnTo>
                  <a:lnTo>
                    <a:pt x="1498589" y="1318519"/>
                  </a:lnTo>
                  <a:lnTo>
                    <a:pt x="1554139" y="1318519"/>
                  </a:lnTo>
                  <a:lnTo>
                    <a:pt x="1817867" y="139977"/>
                  </a:lnTo>
                  <a:lnTo>
                    <a:pt x="1681103" y="5"/>
                  </a:lnTo>
                  <a:lnTo>
                    <a:pt x="1168903" y="5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Rectangle 19">
              <a:extLst>
                <a:ext uri="{FF2B5EF4-FFF2-40B4-BE49-F238E27FC236}">
                  <a16:creationId xmlns:a16="http://schemas.microsoft.com/office/drawing/2014/main" id="{49302CD2-FDC2-E891-F1E7-D4CD07BC05F4}"/>
                </a:ext>
              </a:extLst>
            </p:cNvPr>
            <p:cNvSpPr/>
            <p:nvPr/>
          </p:nvSpPr>
          <p:spPr>
            <a:xfrm>
              <a:off x="4398229" y="3111690"/>
              <a:ext cx="1405719" cy="941695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Rectangle 20">
              <a:extLst>
                <a:ext uri="{FF2B5EF4-FFF2-40B4-BE49-F238E27FC236}">
                  <a16:creationId xmlns:a16="http://schemas.microsoft.com/office/drawing/2014/main" id="{3026F05F-68EF-5A12-DBAF-5FB09DA0549F}"/>
                </a:ext>
              </a:extLst>
            </p:cNvPr>
            <p:cNvSpPr/>
            <p:nvPr/>
          </p:nvSpPr>
          <p:spPr>
            <a:xfrm rot="335292">
              <a:off x="4468035" y="3042682"/>
              <a:ext cx="1405719" cy="941695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Rectangle 21">
              <a:extLst>
                <a:ext uri="{FF2B5EF4-FFF2-40B4-BE49-F238E27FC236}">
                  <a16:creationId xmlns:a16="http://schemas.microsoft.com/office/drawing/2014/main" id="{2B730955-E065-824F-3CB8-B0EDED30B0B6}"/>
                </a:ext>
              </a:extLst>
            </p:cNvPr>
            <p:cNvSpPr/>
            <p:nvPr/>
          </p:nvSpPr>
          <p:spPr>
            <a:xfrm rot="775497">
              <a:off x="4540330" y="2965048"/>
              <a:ext cx="1405719" cy="941695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orme libre : forme 23">
              <a:extLst>
                <a:ext uri="{FF2B5EF4-FFF2-40B4-BE49-F238E27FC236}">
                  <a16:creationId xmlns:a16="http://schemas.microsoft.com/office/drawing/2014/main" id="{B7D54A8E-5580-F7CD-D983-C5E3917C449E}"/>
                </a:ext>
              </a:extLst>
            </p:cNvPr>
            <p:cNvSpPr/>
            <p:nvPr/>
          </p:nvSpPr>
          <p:spPr>
            <a:xfrm>
              <a:off x="4398229" y="2838375"/>
              <a:ext cx="1849189" cy="1232263"/>
            </a:xfrm>
            <a:custGeom>
              <a:avLst/>
              <a:gdLst>
                <a:gd name="connsiteX0" fmla="*/ 1168903 w 1849189"/>
                <a:gd name="connsiteY0" fmla="*/ 0 h 1232263"/>
                <a:gd name="connsiteX1" fmla="*/ 1168903 w 1849189"/>
                <a:gd name="connsiteY1" fmla="*/ 4 h 1232263"/>
                <a:gd name="connsiteX2" fmla="*/ 1849189 w 1849189"/>
                <a:gd name="connsiteY2" fmla="*/ 4 h 1232263"/>
                <a:gd name="connsiteX3" fmla="*/ 1554139 w 1849189"/>
                <a:gd name="connsiteY3" fmla="*/ 1232262 h 1232263"/>
                <a:gd name="connsiteX4" fmla="*/ 1514310 w 1849189"/>
                <a:gd name="connsiteY4" fmla="*/ 1232262 h 1232263"/>
                <a:gd name="connsiteX5" fmla="*/ 1514310 w 1849189"/>
                <a:gd name="connsiteY5" fmla="*/ 1232263 h 1232263"/>
                <a:gd name="connsiteX6" fmla="*/ 0 w 1849189"/>
                <a:gd name="connsiteY6" fmla="*/ 1232263 h 1232263"/>
                <a:gd name="connsiteX7" fmla="*/ 224580 w 1849189"/>
                <a:gd name="connsiteY7" fmla="*/ 172171 h 1232263"/>
                <a:gd name="connsiteX8" fmla="*/ 1123271 w 1849189"/>
                <a:gd name="connsiteY8" fmla="*/ 172171 h 1232263"/>
                <a:gd name="connsiteX9" fmla="*/ 1123271 w 1849189"/>
                <a:gd name="connsiteY9" fmla="*/ 172170 h 1232263"/>
                <a:gd name="connsiteX10" fmla="*/ 941742 w 1849189"/>
                <a:gd name="connsiteY10" fmla="*/ 172170 h 1232263"/>
                <a:gd name="connsiteX11" fmla="*/ 1163518 w 1849189"/>
                <a:gd name="connsiteY11" fmla="*/ 4082 h 1232263"/>
                <a:gd name="connsiteX12" fmla="*/ 1164494 w 1849189"/>
                <a:gd name="connsiteY12" fmla="*/ 4 h 1232263"/>
                <a:gd name="connsiteX13" fmla="*/ 1168898 w 1849189"/>
                <a:gd name="connsiteY13" fmla="*/ 4 h 1232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49189" h="1232263">
                  <a:moveTo>
                    <a:pt x="1168903" y="0"/>
                  </a:moveTo>
                  <a:lnTo>
                    <a:pt x="1168903" y="4"/>
                  </a:lnTo>
                  <a:lnTo>
                    <a:pt x="1849189" y="4"/>
                  </a:lnTo>
                  <a:lnTo>
                    <a:pt x="1554139" y="1232262"/>
                  </a:lnTo>
                  <a:lnTo>
                    <a:pt x="1514310" y="1232262"/>
                  </a:lnTo>
                  <a:lnTo>
                    <a:pt x="1514310" y="1232263"/>
                  </a:lnTo>
                  <a:lnTo>
                    <a:pt x="0" y="1232263"/>
                  </a:lnTo>
                  <a:lnTo>
                    <a:pt x="224580" y="172171"/>
                  </a:lnTo>
                  <a:lnTo>
                    <a:pt x="1123271" y="172171"/>
                  </a:lnTo>
                  <a:lnTo>
                    <a:pt x="1123271" y="172170"/>
                  </a:lnTo>
                  <a:lnTo>
                    <a:pt x="941742" y="172170"/>
                  </a:lnTo>
                  <a:lnTo>
                    <a:pt x="1163518" y="4082"/>
                  </a:lnTo>
                  <a:lnTo>
                    <a:pt x="1164494" y="4"/>
                  </a:lnTo>
                  <a:lnTo>
                    <a:pt x="1168898" y="4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orme libre : forme 25">
              <a:extLst>
                <a:ext uri="{FF2B5EF4-FFF2-40B4-BE49-F238E27FC236}">
                  <a16:creationId xmlns:a16="http://schemas.microsoft.com/office/drawing/2014/main" id="{04485279-1840-6240-1549-D8819905C614}"/>
                </a:ext>
              </a:extLst>
            </p:cNvPr>
            <p:cNvSpPr/>
            <p:nvPr/>
          </p:nvSpPr>
          <p:spPr>
            <a:xfrm>
              <a:off x="4398229" y="3713721"/>
              <a:ext cx="1635329" cy="356915"/>
            </a:xfrm>
            <a:custGeom>
              <a:avLst/>
              <a:gdLst>
                <a:gd name="connsiteX0" fmla="*/ 1639597 w 1639597"/>
                <a:gd name="connsiteY0" fmla="*/ 0 h 356915"/>
                <a:gd name="connsiteX1" fmla="*/ 1554137 w 1639597"/>
                <a:gd name="connsiteY1" fmla="*/ 356915 h 356915"/>
                <a:gd name="connsiteX2" fmla="*/ 0 w 1639597"/>
                <a:gd name="connsiteY2" fmla="*/ 356915 h 356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9597" h="356915">
                  <a:moveTo>
                    <a:pt x="1639597" y="0"/>
                  </a:moveTo>
                  <a:lnTo>
                    <a:pt x="1554137" y="356915"/>
                  </a:lnTo>
                  <a:lnTo>
                    <a:pt x="0" y="356915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0" name="Groupe 1">
            <a:extLst>
              <a:ext uri="{FF2B5EF4-FFF2-40B4-BE49-F238E27FC236}">
                <a16:creationId xmlns:a16="http://schemas.microsoft.com/office/drawing/2014/main" id="{4CC1B30C-A216-D29E-B22F-1054EEC05943}"/>
              </a:ext>
            </a:extLst>
          </p:cNvPr>
          <p:cNvGrpSpPr/>
          <p:nvPr/>
        </p:nvGrpSpPr>
        <p:grpSpPr>
          <a:xfrm>
            <a:off x="810081" y="4251777"/>
            <a:ext cx="1228270" cy="878640"/>
            <a:chOff x="4136627" y="2734860"/>
            <a:chExt cx="2110791" cy="1335778"/>
          </a:xfrm>
        </p:grpSpPr>
        <p:sp>
          <p:nvSpPr>
            <p:cNvPr id="61" name="Forme libre : forme 22">
              <a:extLst>
                <a:ext uri="{FF2B5EF4-FFF2-40B4-BE49-F238E27FC236}">
                  <a16:creationId xmlns:a16="http://schemas.microsoft.com/office/drawing/2014/main" id="{E1B8487D-0FBB-C333-BE4A-701B2A897C5B}"/>
                </a:ext>
              </a:extLst>
            </p:cNvPr>
            <p:cNvSpPr/>
            <p:nvPr/>
          </p:nvSpPr>
          <p:spPr>
            <a:xfrm flipH="1">
              <a:off x="4136627" y="2734860"/>
              <a:ext cx="1817867" cy="1318520"/>
            </a:xfrm>
            <a:custGeom>
              <a:avLst/>
              <a:gdLst>
                <a:gd name="connsiteX0" fmla="*/ 1168903 w 1817867"/>
                <a:gd name="connsiteY0" fmla="*/ 0 h 1318520"/>
                <a:gd name="connsiteX1" fmla="*/ 1168897 w 1817867"/>
                <a:gd name="connsiteY1" fmla="*/ 5 h 1318520"/>
                <a:gd name="connsiteX2" fmla="*/ 1164494 w 1817867"/>
                <a:gd name="connsiteY2" fmla="*/ 5 h 1318520"/>
                <a:gd name="connsiteX3" fmla="*/ 1163518 w 1817867"/>
                <a:gd name="connsiteY3" fmla="*/ 4367 h 1318520"/>
                <a:gd name="connsiteX4" fmla="*/ 941742 w 1817867"/>
                <a:gd name="connsiteY4" fmla="*/ 184223 h 1318520"/>
                <a:gd name="connsiteX5" fmla="*/ 240301 w 1817867"/>
                <a:gd name="connsiteY5" fmla="*/ 184223 h 1318520"/>
                <a:gd name="connsiteX6" fmla="*/ 0 w 1817867"/>
                <a:gd name="connsiteY6" fmla="*/ 1318520 h 1318520"/>
                <a:gd name="connsiteX7" fmla="*/ 1498589 w 1817867"/>
                <a:gd name="connsiteY7" fmla="*/ 1318520 h 1318520"/>
                <a:gd name="connsiteX8" fmla="*/ 1498589 w 1817867"/>
                <a:gd name="connsiteY8" fmla="*/ 1318519 h 1318520"/>
                <a:gd name="connsiteX9" fmla="*/ 1554139 w 1817867"/>
                <a:gd name="connsiteY9" fmla="*/ 1318519 h 1318520"/>
                <a:gd name="connsiteX10" fmla="*/ 1817867 w 1817867"/>
                <a:gd name="connsiteY10" fmla="*/ 139977 h 1318520"/>
                <a:gd name="connsiteX11" fmla="*/ 1681103 w 1817867"/>
                <a:gd name="connsiteY11" fmla="*/ 5 h 1318520"/>
                <a:gd name="connsiteX12" fmla="*/ 1168903 w 1817867"/>
                <a:gd name="connsiteY12" fmla="*/ 5 h 131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7867" h="1318520">
                  <a:moveTo>
                    <a:pt x="1168903" y="0"/>
                  </a:moveTo>
                  <a:lnTo>
                    <a:pt x="1168897" y="5"/>
                  </a:lnTo>
                  <a:lnTo>
                    <a:pt x="1164494" y="5"/>
                  </a:lnTo>
                  <a:lnTo>
                    <a:pt x="1163518" y="4367"/>
                  </a:lnTo>
                  <a:lnTo>
                    <a:pt x="941742" y="184223"/>
                  </a:lnTo>
                  <a:lnTo>
                    <a:pt x="240301" y="184223"/>
                  </a:lnTo>
                  <a:lnTo>
                    <a:pt x="0" y="1318520"/>
                  </a:lnTo>
                  <a:lnTo>
                    <a:pt x="1498589" y="1318520"/>
                  </a:lnTo>
                  <a:lnTo>
                    <a:pt x="1498589" y="1318519"/>
                  </a:lnTo>
                  <a:lnTo>
                    <a:pt x="1554139" y="1318519"/>
                  </a:lnTo>
                  <a:lnTo>
                    <a:pt x="1817867" y="139977"/>
                  </a:lnTo>
                  <a:lnTo>
                    <a:pt x="1681103" y="5"/>
                  </a:lnTo>
                  <a:lnTo>
                    <a:pt x="1168903" y="5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12">
              <a:extLst>
                <a:ext uri="{FF2B5EF4-FFF2-40B4-BE49-F238E27FC236}">
                  <a16:creationId xmlns:a16="http://schemas.microsoft.com/office/drawing/2014/main" id="{CE638D8E-225D-6F02-DB94-207E1C72442B}"/>
                </a:ext>
              </a:extLst>
            </p:cNvPr>
            <p:cNvSpPr/>
            <p:nvPr/>
          </p:nvSpPr>
          <p:spPr>
            <a:xfrm>
              <a:off x="4398229" y="3111690"/>
              <a:ext cx="1405719" cy="941695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13">
              <a:extLst>
                <a:ext uri="{FF2B5EF4-FFF2-40B4-BE49-F238E27FC236}">
                  <a16:creationId xmlns:a16="http://schemas.microsoft.com/office/drawing/2014/main" id="{4BC15324-06C3-F929-842F-BC51CBC92893}"/>
                </a:ext>
              </a:extLst>
            </p:cNvPr>
            <p:cNvSpPr/>
            <p:nvPr/>
          </p:nvSpPr>
          <p:spPr>
            <a:xfrm rot="335292">
              <a:off x="4468035" y="3042682"/>
              <a:ext cx="1405719" cy="941695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Rectangle 14">
              <a:extLst>
                <a:ext uri="{FF2B5EF4-FFF2-40B4-BE49-F238E27FC236}">
                  <a16:creationId xmlns:a16="http://schemas.microsoft.com/office/drawing/2014/main" id="{31209731-22BB-BD52-F5D0-34FD5E5498F5}"/>
                </a:ext>
              </a:extLst>
            </p:cNvPr>
            <p:cNvSpPr/>
            <p:nvPr/>
          </p:nvSpPr>
          <p:spPr>
            <a:xfrm rot="775497">
              <a:off x="4540330" y="2965048"/>
              <a:ext cx="1405719" cy="941695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orme libre : forme 23">
              <a:extLst>
                <a:ext uri="{FF2B5EF4-FFF2-40B4-BE49-F238E27FC236}">
                  <a16:creationId xmlns:a16="http://schemas.microsoft.com/office/drawing/2014/main" id="{00ADE32B-EDFB-EB19-DA2D-A93F14CA4BE3}"/>
                </a:ext>
              </a:extLst>
            </p:cNvPr>
            <p:cNvSpPr/>
            <p:nvPr/>
          </p:nvSpPr>
          <p:spPr>
            <a:xfrm>
              <a:off x="4398229" y="2838375"/>
              <a:ext cx="1849189" cy="1232263"/>
            </a:xfrm>
            <a:custGeom>
              <a:avLst/>
              <a:gdLst>
                <a:gd name="connsiteX0" fmla="*/ 1168903 w 1849189"/>
                <a:gd name="connsiteY0" fmla="*/ 0 h 1232263"/>
                <a:gd name="connsiteX1" fmla="*/ 1168903 w 1849189"/>
                <a:gd name="connsiteY1" fmla="*/ 4 h 1232263"/>
                <a:gd name="connsiteX2" fmla="*/ 1849189 w 1849189"/>
                <a:gd name="connsiteY2" fmla="*/ 4 h 1232263"/>
                <a:gd name="connsiteX3" fmla="*/ 1554139 w 1849189"/>
                <a:gd name="connsiteY3" fmla="*/ 1232262 h 1232263"/>
                <a:gd name="connsiteX4" fmla="*/ 1514310 w 1849189"/>
                <a:gd name="connsiteY4" fmla="*/ 1232262 h 1232263"/>
                <a:gd name="connsiteX5" fmla="*/ 1514310 w 1849189"/>
                <a:gd name="connsiteY5" fmla="*/ 1232263 h 1232263"/>
                <a:gd name="connsiteX6" fmla="*/ 0 w 1849189"/>
                <a:gd name="connsiteY6" fmla="*/ 1232263 h 1232263"/>
                <a:gd name="connsiteX7" fmla="*/ 224580 w 1849189"/>
                <a:gd name="connsiteY7" fmla="*/ 172171 h 1232263"/>
                <a:gd name="connsiteX8" fmla="*/ 1123271 w 1849189"/>
                <a:gd name="connsiteY8" fmla="*/ 172171 h 1232263"/>
                <a:gd name="connsiteX9" fmla="*/ 1123271 w 1849189"/>
                <a:gd name="connsiteY9" fmla="*/ 172170 h 1232263"/>
                <a:gd name="connsiteX10" fmla="*/ 941742 w 1849189"/>
                <a:gd name="connsiteY10" fmla="*/ 172170 h 1232263"/>
                <a:gd name="connsiteX11" fmla="*/ 1163518 w 1849189"/>
                <a:gd name="connsiteY11" fmla="*/ 4082 h 1232263"/>
                <a:gd name="connsiteX12" fmla="*/ 1164494 w 1849189"/>
                <a:gd name="connsiteY12" fmla="*/ 4 h 1232263"/>
                <a:gd name="connsiteX13" fmla="*/ 1168898 w 1849189"/>
                <a:gd name="connsiteY13" fmla="*/ 4 h 1232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49189" h="1232263">
                  <a:moveTo>
                    <a:pt x="1168903" y="0"/>
                  </a:moveTo>
                  <a:lnTo>
                    <a:pt x="1168903" y="4"/>
                  </a:lnTo>
                  <a:lnTo>
                    <a:pt x="1849189" y="4"/>
                  </a:lnTo>
                  <a:lnTo>
                    <a:pt x="1554139" y="1232262"/>
                  </a:lnTo>
                  <a:lnTo>
                    <a:pt x="1514310" y="1232262"/>
                  </a:lnTo>
                  <a:lnTo>
                    <a:pt x="1514310" y="1232263"/>
                  </a:lnTo>
                  <a:lnTo>
                    <a:pt x="0" y="1232263"/>
                  </a:lnTo>
                  <a:lnTo>
                    <a:pt x="224580" y="172171"/>
                  </a:lnTo>
                  <a:lnTo>
                    <a:pt x="1123271" y="172171"/>
                  </a:lnTo>
                  <a:lnTo>
                    <a:pt x="1123271" y="172170"/>
                  </a:lnTo>
                  <a:lnTo>
                    <a:pt x="941742" y="172170"/>
                  </a:lnTo>
                  <a:lnTo>
                    <a:pt x="1163518" y="4082"/>
                  </a:lnTo>
                  <a:lnTo>
                    <a:pt x="1164494" y="4"/>
                  </a:lnTo>
                  <a:lnTo>
                    <a:pt x="1168898" y="4"/>
                  </a:lnTo>
                  <a:close/>
                </a:path>
              </a:pathLst>
            </a:custGeom>
            <a:solidFill>
              <a:srgbClr val="D12A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orme libre : forme 25">
              <a:extLst>
                <a:ext uri="{FF2B5EF4-FFF2-40B4-BE49-F238E27FC236}">
                  <a16:creationId xmlns:a16="http://schemas.microsoft.com/office/drawing/2014/main" id="{A2365CB6-1199-949A-DA5C-F9FB8DB8FBF0}"/>
                </a:ext>
              </a:extLst>
            </p:cNvPr>
            <p:cNvSpPr/>
            <p:nvPr/>
          </p:nvSpPr>
          <p:spPr>
            <a:xfrm>
              <a:off x="4398229" y="3713721"/>
              <a:ext cx="1635329" cy="356915"/>
            </a:xfrm>
            <a:custGeom>
              <a:avLst/>
              <a:gdLst>
                <a:gd name="connsiteX0" fmla="*/ 1639597 w 1639597"/>
                <a:gd name="connsiteY0" fmla="*/ 0 h 356915"/>
                <a:gd name="connsiteX1" fmla="*/ 1554137 w 1639597"/>
                <a:gd name="connsiteY1" fmla="*/ 356915 h 356915"/>
                <a:gd name="connsiteX2" fmla="*/ 0 w 1639597"/>
                <a:gd name="connsiteY2" fmla="*/ 356915 h 356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9597" h="356915">
                  <a:moveTo>
                    <a:pt x="1639597" y="0"/>
                  </a:moveTo>
                  <a:lnTo>
                    <a:pt x="1554137" y="356915"/>
                  </a:lnTo>
                  <a:lnTo>
                    <a:pt x="0" y="356915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7" name="Rectangle 47">
            <a:extLst>
              <a:ext uri="{FF2B5EF4-FFF2-40B4-BE49-F238E27FC236}">
                <a16:creationId xmlns:a16="http://schemas.microsoft.com/office/drawing/2014/main" id="{82D38194-B219-1F37-3E1E-485236A7C8D2}"/>
              </a:ext>
            </a:extLst>
          </p:cNvPr>
          <p:cNvSpPr/>
          <p:nvPr/>
        </p:nvSpPr>
        <p:spPr>
          <a:xfrm>
            <a:off x="2437811" y="2234318"/>
            <a:ext cx="2248489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b="1" ker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Programmi Nazionali (PN)</a:t>
            </a:r>
          </a:p>
        </p:txBody>
      </p:sp>
      <p:sp>
        <p:nvSpPr>
          <p:cNvPr id="68" name="Rectangle 47">
            <a:extLst>
              <a:ext uri="{FF2B5EF4-FFF2-40B4-BE49-F238E27FC236}">
                <a16:creationId xmlns:a16="http://schemas.microsoft.com/office/drawing/2014/main" id="{6D2F3342-4CB6-8C01-0177-4DD4E6688B21}"/>
              </a:ext>
            </a:extLst>
          </p:cNvPr>
          <p:cNvSpPr/>
          <p:nvPr/>
        </p:nvSpPr>
        <p:spPr>
          <a:xfrm>
            <a:off x="2437810" y="3391055"/>
            <a:ext cx="2248489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b="1" ker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Programma Nazionale Italia del FEAMPA</a:t>
            </a:r>
          </a:p>
        </p:txBody>
      </p:sp>
      <p:sp>
        <p:nvSpPr>
          <p:cNvPr id="69" name="Rectangle 47">
            <a:extLst>
              <a:ext uri="{FF2B5EF4-FFF2-40B4-BE49-F238E27FC236}">
                <a16:creationId xmlns:a16="http://schemas.microsoft.com/office/drawing/2014/main" id="{16573C55-96E9-E99D-1F47-17DD4B597163}"/>
              </a:ext>
            </a:extLst>
          </p:cNvPr>
          <p:cNvSpPr/>
          <p:nvPr/>
        </p:nvSpPr>
        <p:spPr>
          <a:xfrm>
            <a:off x="2437809" y="4415898"/>
            <a:ext cx="2248489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b="1" ker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8 Programmi Regionali (PR)</a:t>
            </a:r>
          </a:p>
        </p:txBody>
      </p:sp>
      <p:sp>
        <p:nvSpPr>
          <p:cNvPr id="70" name="Parentesi graffa chiusa 69">
            <a:extLst>
              <a:ext uri="{FF2B5EF4-FFF2-40B4-BE49-F238E27FC236}">
                <a16:creationId xmlns:a16="http://schemas.microsoft.com/office/drawing/2014/main" id="{49E5DEA2-C34C-01F1-3E08-B21D882E2816}"/>
              </a:ext>
            </a:extLst>
          </p:cNvPr>
          <p:cNvSpPr/>
          <p:nvPr/>
        </p:nvSpPr>
        <p:spPr bwMode="auto">
          <a:xfrm>
            <a:off x="4599574" y="2330350"/>
            <a:ext cx="86724" cy="2670323"/>
          </a:xfrm>
          <a:prstGeom prst="rightBrace">
            <a:avLst/>
          </a:prstGeom>
          <a:noFill/>
          <a:ln w="9525" cap="flat" cmpd="sng" algn="ctr">
            <a:solidFill>
              <a:srgbClr val="00277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71" name="Rettangolo con angoli arrotondati 70">
            <a:extLst>
              <a:ext uri="{FF2B5EF4-FFF2-40B4-BE49-F238E27FC236}">
                <a16:creationId xmlns:a16="http://schemas.microsoft.com/office/drawing/2014/main" id="{316DF6A8-61F0-5C6B-F166-8967DD0F44C6}"/>
              </a:ext>
            </a:extLst>
          </p:cNvPr>
          <p:cNvSpPr/>
          <p:nvPr/>
        </p:nvSpPr>
        <p:spPr bwMode="auto">
          <a:xfrm>
            <a:off x="4895289" y="2770812"/>
            <a:ext cx="3120682" cy="1722428"/>
          </a:xfrm>
          <a:prstGeom prst="roundRect">
            <a:avLst>
              <a:gd name="adj" fmla="val 8932"/>
            </a:avLst>
          </a:prstGeom>
          <a:solidFill>
            <a:schemeClr val="bg1"/>
          </a:solidFill>
          <a:ln w="28575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marR="0" indent="-28575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2000" b="1">
                <a:latin typeface="Arial" charset="0"/>
                <a:ea typeface="ＭＳ Ｐゴシック" charset="-128"/>
              </a:rPr>
              <a:t>20</a:t>
            </a:r>
            <a:r>
              <a:rPr lang="it-IT" sz="1600">
                <a:latin typeface="Arial" charset="0"/>
                <a:ea typeface="ＭＳ Ｐゴシック" charset="-128"/>
              </a:rPr>
              <a:t> finanziati del </a:t>
            </a:r>
            <a:r>
              <a:rPr lang="it-IT" sz="2000" b="1">
                <a:latin typeface="Arial" charset="0"/>
                <a:ea typeface="ＭＳ Ｐゴシック" charset="-128"/>
              </a:rPr>
              <a:t>FESR</a:t>
            </a: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it-IT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rPr>
              <a:t>18</a:t>
            </a:r>
            <a:r>
              <a:rPr kumimoji="0" lang="it-IT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rPr>
              <a:t> finanziati dal </a:t>
            </a:r>
            <a:r>
              <a:rPr kumimoji="0" lang="it-IT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rPr>
              <a:t>FSE+</a:t>
            </a: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it-IT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rPr>
              <a:t>1</a:t>
            </a:r>
            <a:r>
              <a:rPr kumimoji="0" lang="it-IT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rPr>
              <a:t> </a:t>
            </a:r>
            <a:r>
              <a:rPr lang="it-IT" sz="1600">
                <a:latin typeface="Arial" charset="0"/>
                <a:ea typeface="ＭＳ Ｐゴシック" charset="-128"/>
              </a:rPr>
              <a:t>finanziato dal </a:t>
            </a:r>
            <a:r>
              <a:rPr lang="it-IT" sz="2000" b="1">
                <a:latin typeface="Arial" charset="0"/>
                <a:ea typeface="ＭＳ Ｐゴシック" charset="-128"/>
              </a:rPr>
              <a:t>JTF</a:t>
            </a: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it-IT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rPr>
              <a:t>9</a:t>
            </a:r>
            <a:r>
              <a:rPr kumimoji="0" lang="it-IT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rPr>
              <a:t> Programmi </a:t>
            </a:r>
            <a:r>
              <a:rPr kumimoji="0" lang="it-IT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rPr>
              <a:t>plurifondo</a:t>
            </a: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2000" b="1">
                <a:latin typeface="Arial" charset="0"/>
                <a:ea typeface="ＭＳ Ｐゴシック" charset="-128"/>
              </a:rPr>
              <a:t>1</a:t>
            </a:r>
            <a:r>
              <a:rPr lang="it-IT" sz="1600">
                <a:latin typeface="Arial" charset="0"/>
                <a:ea typeface="ＭＳ Ｐゴシック" charset="-128"/>
              </a:rPr>
              <a:t> finanziato dal </a:t>
            </a:r>
            <a:r>
              <a:rPr lang="it-IT" sz="2000" b="1">
                <a:latin typeface="Arial" charset="0"/>
                <a:ea typeface="ＭＳ Ｐゴシック" charset="-128"/>
              </a:rPr>
              <a:t>FEAMPA</a:t>
            </a:r>
            <a:endParaRPr kumimoji="0" lang="it-IT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72" name="TextBox 13">
            <a:extLst>
              <a:ext uri="{FF2B5EF4-FFF2-40B4-BE49-F238E27FC236}">
                <a16:creationId xmlns:a16="http://schemas.microsoft.com/office/drawing/2014/main" id="{B5C83257-FB79-0B1C-4F3B-7297AD6A8FB7}"/>
              </a:ext>
            </a:extLst>
          </p:cNvPr>
          <p:cNvSpPr txBox="1"/>
          <p:nvPr/>
        </p:nvSpPr>
        <p:spPr>
          <a:xfrm>
            <a:off x="8224965" y="2157170"/>
            <a:ext cx="3156954" cy="2893381"/>
          </a:xfrm>
          <a:prstGeom prst="rect">
            <a:avLst/>
          </a:prstGeom>
          <a:solidFill>
            <a:srgbClr val="FFF2C1"/>
          </a:solidFill>
          <a:ln w="19050">
            <a:solidFill>
              <a:srgbClr val="FFCC05"/>
            </a:solidFill>
            <a:prstDash val="sysDash"/>
          </a:ln>
        </p:spPr>
        <p:txBody>
          <a:bodyPr wrap="square" rtlCol="0" anchor="ctr">
            <a:noAutofit/>
          </a:bodyPr>
          <a:lstStyle/>
          <a:p>
            <a:pPr algn="just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L’</a:t>
            </a:r>
            <a:r>
              <a:rPr lang="it-IT" sz="1600" err="1">
                <a:latin typeface="Arial" panose="020B0604020202020204" pitchFamily="34" charset="0"/>
                <a:cs typeface="Arial" panose="020B0604020202020204" pitchFamily="34" charset="0"/>
              </a:rPr>
              <a:t>AdG</a:t>
            </a: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, ai sensi dell’art. 74 del Reg. (UE) 2021/1060, svolge verifiche di gestione per assicurare la </a:t>
            </a:r>
            <a:r>
              <a:rPr lang="it-IT" sz="1600" b="1">
                <a:latin typeface="Arial" panose="020B0604020202020204" pitchFamily="34" charset="0"/>
                <a:cs typeface="Arial" panose="020B0604020202020204" pitchFamily="34" charset="0"/>
              </a:rPr>
              <a:t>corretta realizzazione</a:t>
            </a: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600" b="1">
                <a:latin typeface="Arial" panose="020B0604020202020204" pitchFamily="34" charset="0"/>
                <a:cs typeface="Arial" panose="020B0604020202020204" pitchFamily="34" charset="0"/>
              </a:rPr>
              <a:t>conformità normativa </a:t>
            </a: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e </a:t>
            </a:r>
            <a:r>
              <a:rPr lang="it-IT" sz="1600" b="1">
                <a:latin typeface="Arial" panose="020B0604020202020204" pitchFamily="34" charset="0"/>
                <a:cs typeface="Arial" panose="020B0604020202020204" pitchFamily="34" charset="0"/>
              </a:rPr>
              <a:t>coerenza </a:t>
            </a: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delle operazioni. Le verifiche, basate su una </a:t>
            </a:r>
            <a:r>
              <a:rPr lang="it-IT" sz="1600" b="1">
                <a:latin typeface="Arial" panose="020B0604020202020204" pitchFamily="34" charset="0"/>
                <a:cs typeface="Arial" panose="020B0604020202020204" pitchFamily="34" charset="0"/>
              </a:rPr>
              <a:t>valutazione preventiva dei rischi</a:t>
            </a: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, comprendono controlli amministrativi e verifiche in loco.</a:t>
            </a:r>
            <a:endParaRPr lang="it-IT" sz="1600">
              <a:solidFill>
                <a:srgbClr val="000000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3" name="Freccia a destra 12">
            <a:extLst>
              <a:ext uri="{FF2B5EF4-FFF2-40B4-BE49-F238E27FC236}">
                <a16:creationId xmlns:a16="http://schemas.microsoft.com/office/drawing/2014/main" id="{17199D24-95CB-B8B1-4713-753EB2ACEBC3}"/>
              </a:ext>
            </a:extLst>
          </p:cNvPr>
          <p:cNvSpPr/>
          <p:nvPr/>
        </p:nvSpPr>
        <p:spPr bwMode="auto">
          <a:xfrm>
            <a:off x="2465478" y="5138999"/>
            <a:ext cx="7172325" cy="189331"/>
          </a:xfrm>
          <a:prstGeom prst="rightArrow">
            <a:avLst/>
          </a:prstGeom>
          <a:ln w="12700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4" name="Rectangle 148">
            <a:extLst>
              <a:ext uri="{FF2B5EF4-FFF2-40B4-BE49-F238E27FC236}">
                <a16:creationId xmlns:a16="http://schemas.microsoft.com/office/drawing/2014/main" id="{842E0BEF-7A72-67D0-F7E9-41D6E3B37DBD}"/>
              </a:ext>
            </a:extLst>
          </p:cNvPr>
          <p:cNvSpPr/>
          <p:nvPr/>
        </p:nvSpPr>
        <p:spPr>
          <a:xfrm flipH="1">
            <a:off x="2190577" y="5426224"/>
            <a:ext cx="1449637" cy="525169"/>
          </a:xfrm>
          <a:prstGeom prst="rect">
            <a:avLst/>
          </a:prstGeom>
          <a:solidFill>
            <a:srgbClr val="0091DA"/>
          </a:solidFill>
          <a:ln w="25400" cap="flat" cmpd="sng" algn="ctr">
            <a:noFill/>
            <a:prstDash val="solid"/>
          </a:ln>
          <a:effectLst/>
        </p:spPr>
        <p:txBody>
          <a:bodyPr tIns="90000" b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 PERIODO CONTABILE</a:t>
            </a:r>
          </a:p>
          <a:p>
            <a:pPr lvl="0" algn="ctr" defTabSz="457200">
              <a:spcBef>
                <a:spcPts val="300"/>
              </a:spcBef>
            </a:pPr>
            <a:r>
              <a:rPr lang="en-GB" sz="8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1.2021-30.06.2022</a:t>
            </a:r>
            <a:endParaRPr kumimoji="0" lang="en-GB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9">
            <a:extLst>
              <a:ext uri="{FF2B5EF4-FFF2-40B4-BE49-F238E27FC236}">
                <a16:creationId xmlns:a16="http://schemas.microsoft.com/office/drawing/2014/main" id="{54495BA8-6A70-E601-F6E2-EEF1CEF2BF37}"/>
              </a:ext>
            </a:extLst>
          </p:cNvPr>
          <p:cNvSpPr/>
          <p:nvPr/>
        </p:nvSpPr>
        <p:spPr>
          <a:xfrm flipH="1">
            <a:off x="2820731" y="5138999"/>
            <a:ext cx="189331" cy="189331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0091DA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42">
            <a:extLst>
              <a:ext uri="{FF2B5EF4-FFF2-40B4-BE49-F238E27FC236}">
                <a16:creationId xmlns:a16="http://schemas.microsoft.com/office/drawing/2014/main" id="{BA4F4DE9-0725-1C69-AA62-E8ED7CFDF95E}"/>
              </a:ext>
            </a:extLst>
          </p:cNvPr>
          <p:cNvSpPr/>
          <p:nvPr/>
        </p:nvSpPr>
        <p:spPr>
          <a:xfrm flipH="1">
            <a:off x="3735298" y="5426224"/>
            <a:ext cx="1449637" cy="525169"/>
          </a:xfrm>
          <a:prstGeom prst="rect">
            <a:avLst/>
          </a:prstGeom>
          <a:solidFill>
            <a:srgbClr val="005EB8"/>
          </a:solidFill>
          <a:ln w="25400" cap="flat" cmpd="sng" algn="ctr">
            <a:solidFill>
              <a:srgbClr val="005EB8"/>
            </a:solidFill>
            <a:prstDash val="solid"/>
          </a:ln>
          <a:effectLst/>
        </p:spPr>
        <p:txBody>
          <a:bodyPr tIns="90000" b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I PERIODO CONTABILE</a:t>
            </a:r>
          </a:p>
          <a:p>
            <a:pPr lvl="0" algn="ctr" defTabSz="457200">
              <a:spcBef>
                <a:spcPts val="300"/>
              </a:spcBef>
            </a:pPr>
            <a:r>
              <a:rPr lang="en-GB" sz="8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7.2022-30.06.2023</a:t>
            </a:r>
            <a:endParaRPr kumimoji="0" lang="en-GB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val 143">
            <a:extLst>
              <a:ext uri="{FF2B5EF4-FFF2-40B4-BE49-F238E27FC236}">
                <a16:creationId xmlns:a16="http://schemas.microsoft.com/office/drawing/2014/main" id="{CEBCA251-E22C-EF76-1609-924EE021B6A4}"/>
              </a:ext>
            </a:extLst>
          </p:cNvPr>
          <p:cNvSpPr/>
          <p:nvPr/>
        </p:nvSpPr>
        <p:spPr>
          <a:xfrm flipH="1">
            <a:off x="4365452" y="5138999"/>
            <a:ext cx="189331" cy="189331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005EB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36">
            <a:extLst>
              <a:ext uri="{FF2B5EF4-FFF2-40B4-BE49-F238E27FC236}">
                <a16:creationId xmlns:a16="http://schemas.microsoft.com/office/drawing/2014/main" id="{82FB2525-07DB-7C6C-DACA-51744606DC6F}"/>
              </a:ext>
            </a:extLst>
          </p:cNvPr>
          <p:cNvSpPr/>
          <p:nvPr/>
        </p:nvSpPr>
        <p:spPr>
          <a:xfrm flipH="1">
            <a:off x="5280019" y="5426224"/>
            <a:ext cx="1449637" cy="525169"/>
          </a:xfrm>
          <a:prstGeom prst="rect">
            <a:avLst/>
          </a:prstGeom>
          <a:solidFill>
            <a:srgbClr val="00338D"/>
          </a:solidFill>
          <a:ln w="25400" cap="flat" cmpd="sng" algn="ctr">
            <a:solidFill>
              <a:srgbClr val="00338D"/>
            </a:solidFill>
            <a:prstDash val="solid"/>
          </a:ln>
          <a:effectLst/>
        </p:spPr>
        <p:txBody>
          <a:bodyPr tIns="90000" b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II PERIODO CONTABILE</a:t>
            </a:r>
          </a:p>
          <a:p>
            <a:pPr lvl="0" algn="ctr" defTabSz="457200">
              <a:spcBef>
                <a:spcPts val="300"/>
              </a:spcBef>
            </a:pPr>
            <a:r>
              <a:rPr lang="en-GB" sz="8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7.2023-30.06.2024</a:t>
            </a:r>
            <a:endParaRPr kumimoji="0" lang="en-GB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Oval 137">
            <a:extLst>
              <a:ext uri="{FF2B5EF4-FFF2-40B4-BE49-F238E27FC236}">
                <a16:creationId xmlns:a16="http://schemas.microsoft.com/office/drawing/2014/main" id="{6D6703A2-6FE3-E224-CFAE-8BA1D640A5EE}"/>
              </a:ext>
            </a:extLst>
          </p:cNvPr>
          <p:cNvSpPr/>
          <p:nvPr/>
        </p:nvSpPr>
        <p:spPr>
          <a:xfrm flipH="1">
            <a:off x="5910173" y="5138999"/>
            <a:ext cx="189331" cy="189331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00338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130">
            <a:extLst>
              <a:ext uri="{FF2B5EF4-FFF2-40B4-BE49-F238E27FC236}">
                <a16:creationId xmlns:a16="http://schemas.microsoft.com/office/drawing/2014/main" id="{4107921B-1811-B05F-DEA3-34CA6101D00A}"/>
              </a:ext>
            </a:extLst>
          </p:cNvPr>
          <p:cNvSpPr/>
          <p:nvPr/>
        </p:nvSpPr>
        <p:spPr>
          <a:xfrm flipH="1">
            <a:off x="6824739" y="5426224"/>
            <a:ext cx="1449637" cy="525169"/>
          </a:xfrm>
          <a:prstGeom prst="rect">
            <a:avLst/>
          </a:prstGeom>
          <a:solidFill>
            <a:srgbClr val="6D2077"/>
          </a:solidFill>
          <a:ln w="25400" cap="flat" cmpd="sng" algn="ctr">
            <a:solidFill>
              <a:srgbClr val="6D2077"/>
            </a:solidFill>
            <a:prstDash val="solid"/>
          </a:ln>
          <a:effectLst/>
        </p:spPr>
        <p:txBody>
          <a:bodyPr tIns="90000" b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V PERIODO CONTABILE</a:t>
            </a:r>
          </a:p>
          <a:p>
            <a:pPr lvl="0" algn="ctr" defTabSz="457200">
              <a:spcBef>
                <a:spcPts val="300"/>
              </a:spcBef>
            </a:pPr>
            <a:r>
              <a:rPr lang="en-GB" sz="8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01.07.2024-30.06.2025</a:t>
            </a:r>
            <a:endParaRPr kumimoji="0" lang="en-GB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val 131">
            <a:extLst>
              <a:ext uri="{FF2B5EF4-FFF2-40B4-BE49-F238E27FC236}">
                <a16:creationId xmlns:a16="http://schemas.microsoft.com/office/drawing/2014/main" id="{7D13D572-B72C-AE88-6EB5-AB5A3DD4C1AA}"/>
              </a:ext>
            </a:extLst>
          </p:cNvPr>
          <p:cNvSpPr/>
          <p:nvPr/>
        </p:nvSpPr>
        <p:spPr>
          <a:xfrm flipH="1">
            <a:off x="7454893" y="5138999"/>
            <a:ext cx="189331" cy="189331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6D207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124">
            <a:extLst>
              <a:ext uri="{FF2B5EF4-FFF2-40B4-BE49-F238E27FC236}">
                <a16:creationId xmlns:a16="http://schemas.microsoft.com/office/drawing/2014/main" id="{C4E4C832-6CCD-3BDC-D40F-37D9B13A68A3}"/>
              </a:ext>
            </a:extLst>
          </p:cNvPr>
          <p:cNvSpPr/>
          <p:nvPr/>
        </p:nvSpPr>
        <p:spPr>
          <a:xfrm flipH="1">
            <a:off x="8369462" y="5426224"/>
            <a:ext cx="1449637" cy="525169"/>
          </a:xfrm>
          <a:prstGeom prst="rect">
            <a:avLst/>
          </a:prstGeom>
          <a:solidFill>
            <a:srgbClr val="00A3A1"/>
          </a:solidFill>
          <a:ln w="25400" cap="flat" cmpd="sng" algn="ctr">
            <a:solidFill>
              <a:srgbClr val="00A3A1"/>
            </a:solidFill>
            <a:prstDash val="solid"/>
          </a:ln>
          <a:effectLst/>
        </p:spPr>
        <p:txBody>
          <a:bodyPr tIns="90000" b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 PERIODO CONTABILE</a:t>
            </a:r>
          </a:p>
          <a:p>
            <a:pPr lvl="0" algn="ctr" defTabSz="457200">
              <a:spcBef>
                <a:spcPts val="300"/>
              </a:spcBef>
            </a:pPr>
            <a:r>
              <a:rPr lang="en-GB" sz="8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7.2025-30.06.2026</a:t>
            </a:r>
            <a:endParaRPr kumimoji="0" lang="en-GB" sz="800" b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125">
            <a:extLst>
              <a:ext uri="{FF2B5EF4-FFF2-40B4-BE49-F238E27FC236}">
                <a16:creationId xmlns:a16="http://schemas.microsoft.com/office/drawing/2014/main" id="{EA6291C8-9DBC-855A-DB76-DA11A36CE6C0}"/>
              </a:ext>
            </a:extLst>
          </p:cNvPr>
          <p:cNvSpPr/>
          <p:nvPr/>
        </p:nvSpPr>
        <p:spPr>
          <a:xfrm flipH="1">
            <a:off x="8999616" y="5138999"/>
            <a:ext cx="189331" cy="189331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00A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59806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299152-74D8-5958-3B23-A69A8A1A5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A62E4DA-DDBA-E14A-8CF0-1166ABE2E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43842B-A32A-49BD-A497-95FC235F58CB}" type="slidenum">
              <a:rPr lang="it-IT" smtClean="0">
                <a:solidFill>
                  <a:srgbClr val="002776"/>
                </a:solidFill>
              </a:rPr>
              <a:pPr/>
              <a:t>4</a:t>
            </a:fld>
            <a:endParaRPr lang="it-IT">
              <a:solidFill>
                <a:srgbClr val="002776"/>
              </a:solidFill>
            </a:endParaRPr>
          </a:p>
        </p:txBody>
      </p:sp>
      <p:sp>
        <p:nvSpPr>
          <p:cNvPr id="100" name="CasellaDiTesto 99">
            <a:extLst>
              <a:ext uri="{FF2B5EF4-FFF2-40B4-BE49-F238E27FC236}">
                <a16:creationId xmlns:a16="http://schemas.microsoft.com/office/drawing/2014/main" id="{14A4A423-B70B-91B4-66F7-F34F2507EB77}"/>
              </a:ext>
            </a:extLst>
          </p:cNvPr>
          <p:cNvSpPr txBox="1"/>
          <p:nvPr/>
        </p:nvSpPr>
        <p:spPr>
          <a:xfrm>
            <a:off x="30425" y="395294"/>
            <a:ext cx="12192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b="1" kern="0" cap="small">
                <a:solidFill>
                  <a:srgbClr val="0B3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ultati per periodo contabile: I </a:t>
            </a:r>
            <a:r>
              <a:rPr lang="it-IT" sz="2400" b="1" kern="0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P</a:t>
            </a:r>
            <a:r>
              <a:rPr lang="it-IT" sz="2400" b="1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eriodo contabile (</a:t>
            </a:r>
            <a:r>
              <a:rPr lang="it-IT" b="1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dal 01.01.2021 al 30.06.2022</a:t>
            </a:r>
            <a:r>
              <a:rPr lang="it-IT" sz="2400" b="1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)</a:t>
            </a:r>
          </a:p>
          <a:p>
            <a:endParaRPr lang="it-IT" sz="3600" b="1" kern="0" cap="small">
              <a:solidFill>
                <a:srgbClr val="0B3066"/>
              </a:solidFill>
              <a:cs typeface="Arial" panose="020B0604020202020204" pitchFamily="34" charset="0"/>
            </a:endParaRP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E7B0AA1F-8455-09FD-3043-BF183EBA40E0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9" name="Sottotitolo 2">
            <a:extLst>
              <a:ext uri="{FF2B5EF4-FFF2-40B4-BE49-F238E27FC236}">
                <a16:creationId xmlns:a16="http://schemas.microsoft.com/office/drawing/2014/main" id="{6F5B6B5C-D8BF-3A42-352C-7C1931D8E48B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E82193C1-3171-68D2-7B8D-E51BB950AF59}"/>
              </a:ext>
            </a:extLst>
          </p:cNvPr>
          <p:cNvGrpSpPr/>
          <p:nvPr/>
        </p:nvGrpSpPr>
        <p:grpSpPr>
          <a:xfrm>
            <a:off x="5015880" y="2111639"/>
            <a:ext cx="3706940" cy="3114936"/>
            <a:chOff x="2844494" y="2220894"/>
            <a:chExt cx="3531168" cy="2993079"/>
          </a:xfrm>
        </p:grpSpPr>
        <p:sp>
          <p:nvSpPr>
            <p:cNvPr id="21" name="Rectangle 1">
              <a:extLst>
                <a:ext uri="{FF2B5EF4-FFF2-40B4-BE49-F238E27FC236}">
                  <a16:creationId xmlns:a16="http://schemas.microsoft.com/office/drawing/2014/main" id="{95B146F5-E3E7-6491-9FE1-2F655EF6913B}"/>
                </a:ext>
              </a:extLst>
            </p:cNvPr>
            <p:cNvSpPr/>
            <p:nvPr/>
          </p:nvSpPr>
          <p:spPr>
            <a:xfrm>
              <a:off x="2844494" y="2220894"/>
              <a:ext cx="3531168" cy="299307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1D2DEFE5-5407-D8DC-11CA-F45702C1C91E}"/>
                </a:ext>
              </a:extLst>
            </p:cNvPr>
            <p:cNvSpPr txBox="1"/>
            <p:nvPr/>
          </p:nvSpPr>
          <p:spPr>
            <a:xfrm>
              <a:off x="3584838" y="2524029"/>
              <a:ext cx="635086" cy="297581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FSE+</a:t>
              </a:r>
            </a:p>
          </p:txBody>
        </p:sp>
        <p:sp>
          <p:nvSpPr>
            <p:cNvPr id="23" name="Rettangolo 22">
              <a:extLst>
                <a:ext uri="{FF2B5EF4-FFF2-40B4-BE49-F238E27FC236}">
                  <a16:creationId xmlns:a16="http://schemas.microsoft.com/office/drawing/2014/main" id="{76F096B8-4FBF-2061-9F7D-EDA2A412361C}"/>
                </a:ext>
              </a:extLst>
            </p:cNvPr>
            <p:cNvSpPr/>
            <p:nvPr/>
          </p:nvSpPr>
          <p:spPr>
            <a:xfrm>
              <a:off x="3066144" y="2573421"/>
              <a:ext cx="499601" cy="198796"/>
            </a:xfrm>
            <a:prstGeom prst="rect">
              <a:avLst/>
            </a:prstGeom>
            <a:solidFill>
              <a:srgbClr val="00C0AE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endParaRPr lang="it-IT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4" name="Rettangolo 23">
              <a:extLst>
                <a:ext uri="{FF2B5EF4-FFF2-40B4-BE49-F238E27FC236}">
                  <a16:creationId xmlns:a16="http://schemas.microsoft.com/office/drawing/2014/main" id="{F49E4B72-7544-77AC-E8E7-0CD8BCD30531}"/>
                </a:ext>
              </a:extLst>
            </p:cNvPr>
            <p:cNvSpPr/>
            <p:nvPr/>
          </p:nvSpPr>
          <p:spPr>
            <a:xfrm>
              <a:off x="5336555" y="2574320"/>
              <a:ext cx="679239" cy="19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rgbClr val="00338D"/>
                  </a:solidFill>
                  <a:latin typeface="Arial"/>
                </a:rPr>
                <a:t>0</a:t>
              </a:r>
            </a:p>
          </p:txBody>
        </p:sp>
        <p:sp>
          <p:nvSpPr>
            <p:cNvPr id="25" name="CasellaDiTesto 24">
              <a:extLst>
                <a:ext uri="{FF2B5EF4-FFF2-40B4-BE49-F238E27FC236}">
                  <a16:creationId xmlns:a16="http://schemas.microsoft.com/office/drawing/2014/main" id="{6643E416-B4A1-D0E1-C07F-297178A9A187}"/>
                </a:ext>
              </a:extLst>
            </p:cNvPr>
            <p:cNvSpPr txBox="1"/>
            <p:nvPr/>
          </p:nvSpPr>
          <p:spPr>
            <a:xfrm>
              <a:off x="3620318" y="3038947"/>
              <a:ext cx="635086" cy="297581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FESR</a:t>
              </a:r>
            </a:p>
          </p:txBody>
        </p:sp>
        <p:sp>
          <p:nvSpPr>
            <p:cNvPr id="26" name="Rettangolo 25">
              <a:extLst>
                <a:ext uri="{FF2B5EF4-FFF2-40B4-BE49-F238E27FC236}">
                  <a16:creationId xmlns:a16="http://schemas.microsoft.com/office/drawing/2014/main" id="{FA857E2E-B033-9E2E-5D54-1863036B3035}"/>
                </a:ext>
              </a:extLst>
            </p:cNvPr>
            <p:cNvSpPr/>
            <p:nvPr/>
          </p:nvSpPr>
          <p:spPr>
            <a:xfrm>
              <a:off x="3066144" y="3088339"/>
              <a:ext cx="499601" cy="19879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7" name="Rettangolo 26">
              <a:extLst>
                <a:ext uri="{FF2B5EF4-FFF2-40B4-BE49-F238E27FC236}">
                  <a16:creationId xmlns:a16="http://schemas.microsoft.com/office/drawing/2014/main" id="{192278A4-626B-F897-D1FE-688BE71782BB}"/>
                </a:ext>
              </a:extLst>
            </p:cNvPr>
            <p:cNvSpPr/>
            <p:nvPr/>
          </p:nvSpPr>
          <p:spPr>
            <a:xfrm>
              <a:off x="5336555" y="3077300"/>
              <a:ext cx="679239" cy="19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rgbClr val="00338D"/>
                  </a:solidFill>
                  <a:latin typeface="Arial"/>
                </a:rPr>
                <a:t>0</a:t>
              </a:r>
            </a:p>
          </p:txBody>
        </p:sp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C114DDEE-86C8-5B85-A3EF-0A55E508F9DD}"/>
                </a:ext>
              </a:extLst>
            </p:cNvPr>
            <p:cNvSpPr txBox="1"/>
            <p:nvPr/>
          </p:nvSpPr>
          <p:spPr>
            <a:xfrm>
              <a:off x="3620105" y="4049898"/>
              <a:ext cx="900000" cy="297581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JTF</a:t>
              </a:r>
            </a:p>
          </p:txBody>
        </p:sp>
        <p:sp>
          <p:nvSpPr>
            <p:cNvPr id="31" name="Rettangolo 30">
              <a:extLst>
                <a:ext uri="{FF2B5EF4-FFF2-40B4-BE49-F238E27FC236}">
                  <a16:creationId xmlns:a16="http://schemas.microsoft.com/office/drawing/2014/main" id="{2F6109FA-62C5-E864-DE60-8FF59598EC7A}"/>
                </a:ext>
              </a:extLst>
            </p:cNvPr>
            <p:cNvSpPr/>
            <p:nvPr/>
          </p:nvSpPr>
          <p:spPr>
            <a:xfrm>
              <a:off x="3065053" y="4127367"/>
              <a:ext cx="499601" cy="198796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61CCF151-6860-24EB-B495-E6F85B2E5326}"/>
                </a:ext>
              </a:extLst>
            </p:cNvPr>
            <p:cNvSpPr/>
            <p:nvPr/>
          </p:nvSpPr>
          <p:spPr>
            <a:xfrm>
              <a:off x="5336555" y="4142583"/>
              <a:ext cx="679239" cy="19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rgbClr val="00338D"/>
                  </a:solidFill>
                  <a:latin typeface="Arial"/>
                </a:rPr>
                <a:t>0</a:t>
              </a:r>
            </a:p>
          </p:txBody>
        </p:sp>
        <p:sp>
          <p:nvSpPr>
            <p:cNvPr id="35" name="CasellaDiTesto 34">
              <a:extLst>
                <a:ext uri="{FF2B5EF4-FFF2-40B4-BE49-F238E27FC236}">
                  <a16:creationId xmlns:a16="http://schemas.microsoft.com/office/drawing/2014/main" id="{6446A783-F8DB-A792-DE23-0087819013B3}"/>
                </a:ext>
              </a:extLst>
            </p:cNvPr>
            <p:cNvSpPr txBox="1"/>
            <p:nvPr/>
          </p:nvSpPr>
          <p:spPr>
            <a:xfrm>
              <a:off x="3584838" y="4571579"/>
              <a:ext cx="987162" cy="297581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FEAMPA</a:t>
              </a:r>
            </a:p>
          </p:txBody>
        </p:sp>
        <p:sp>
          <p:nvSpPr>
            <p:cNvPr id="36" name="Rettangolo 35">
              <a:extLst>
                <a:ext uri="{FF2B5EF4-FFF2-40B4-BE49-F238E27FC236}">
                  <a16:creationId xmlns:a16="http://schemas.microsoft.com/office/drawing/2014/main" id="{BC0BB7B1-D263-10AD-48B9-D3CE4508FAB2}"/>
                </a:ext>
              </a:extLst>
            </p:cNvPr>
            <p:cNvSpPr/>
            <p:nvPr/>
          </p:nvSpPr>
          <p:spPr>
            <a:xfrm>
              <a:off x="3066144" y="4620971"/>
              <a:ext cx="499601" cy="19879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7" name="Rettangolo 36">
              <a:extLst>
                <a:ext uri="{FF2B5EF4-FFF2-40B4-BE49-F238E27FC236}">
                  <a16:creationId xmlns:a16="http://schemas.microsoft.com/office/drawing/2014/main" id="{C7B0A93B-032A-795D-3944-DD461F469966}"/>
                </a:ext>
              </a:extLst>
            </p:cNvPr>
            <p:cNvSpPr/>
            <p:nvPr/>
          </p:nvSpPr>
          <p:spPr>
            <a:xfrm>
              <a:off x="5336555" y="4621870"/>
              <a:ext cx="679239" cy="19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rgbClr val="00338D"/>
                  </a:solidFill>
                  <a:latin typeface="Arial"/>
                </a:rPr>
                <a:t>0</a:t>
              </a:r>
            </a:p>
          </p:txBody>
        </p:sp>
      </p:grpSp>
      <p:sp>
        <p:nvSpPr>
          <p:cNvPr id="39" name="Rettangolo 38">
            <a:extLst>
              <a:ext uri="{FF2B5EF4-FFF2-40B4-BE49-F238E27FC236}">
                <a16:creationId xmlns:a16="http://schemas.microsoft.com/office/drawing/2014/main" id="{D31D4C55-2DD2-4A16-B7D3-59CF415E27C3}"/>
              </a:ext>
            </a:extLst>
          </p:cNvPr>
          <p:cNvSpPr/>
          <p:nvPr/>
        </p:nvSpPr>
        <p:spPr>
          <a:xfrm>
            <a:off x="5247418" y="3544732"/>
            <a:ext cx="524470" cy="206890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F57A8C7C-7F42-154B-C1EF-9A7F250FFAD3}"/>
              </a:ext>
            </a:extLst>
          </p:cNvPr>
          <p:cNvSpPr txBox="1"/>
          <p:nvPr/>
        </p:nvSpPr>
        <p:spPr>
          <a:xfrm>
            <a:off x="5847014" y="3505917"/>
            <a:ext cx="1225522" cy="241651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>
                <a:latin typeface="Arial" panose="020B0604020202020204" pitchFamily="34" charset="0"/>
                <a:cs typeface="Arial" panose="020B0604020202020204" pitchFamily="34" charset="0"/>
              </a:rPr>
              <a:t>Plurifondo</a:t>
            </a:r>
          </a:p>
        </p:txBody>
      </p:sp>
      <p:sp>
        <p:nvSpPr>
          <p:cNvPr id="41" name="Rettangolo 40">
            <a:extLst>
              <a:ext uri="{FF2B5EF4-FFF2-40B4-BE49-F238E27FC236}">
                <a16:creationId xmlns:a16="http://schemas.microsoft.com/office/drawing/2014/main" id="{98BA7A02-1EFC-CDC9-C053-6D5B41CA043F}"/>
              </a:ext>
            </a:extLst>
          </p:cNvPr>
          <p:cNvSpPr/>
          <p:nvPr/>
        </p:nvSpPr>
        <p:spPr>
          <a:xfrm>
            <a:off x="7631989" y="3534862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defRPr/>
            </a:pPr>
            <a:r>
              <a:rPr lang="it-IT" sz="1500" b="1" i="1">
                <a:solidFill>
                  <a:srgbClr val="00338D"/>
                </a:solidFill>
                <a:latin typeface="Arial"/>
              </a:rPr>
              <a:t>0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1BFBD1E4-35B7-B413-96FB-DA8A87455F26}"/>
              </a:ext>
            </a:extLst>
          </p:cNvPr>
          <p:cNvSpPr txBox="1"/>
          <p:nvPr/>
        </p:nvSpPr>
        <p:spPr>
          <a:xfrm>
            <a:off x="714848" y="2986457"/>
            <a:ext cx="402130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Nel corso del I periodo contabile nessuna AdG ha eseguito verifiche di gestione poiché i Programmi non avevano ancora prodotto spesa da avviare a certificazione. </a:t>
            </a:r>
            <a:endParaRPr lang="it-IT" sz="1600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FC2F0F38-61DA-C7CD-3F6B-1A60E6D5D33A}"/>
              </a:ext>
            </a:extLst>
          </p:cNvPr>
          <p:cNvSpPr txBox="1"/>
          <p:nvPr/>
        </p:nvSpPr>
        <p:spPr>
          <a:xfrm>
            <a:off x="5227865" y="1657780"/>
            <a:ext cx="3494955" cy="356142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400" b="1" i="1">
                <a:latin typeface="Arial"/>
              </a:rPr>
              <a:t>Verifiche di gestione svolte sulla base di un’analisi del rischio per Fond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5B05471-DB58-754C-D0E6-BA492A813304}"/>
              </a:ext>
            </a:extLst>
          </p:cNvPr>
          <p:cNvSpPr txBox="1"/>
          <p:nvPr/>
        </p:nvSpPr>
        <p:spPr>
          <a:xfrm>
            <a:off x="9718667" y="2560865"/>
            <a:ext cx="1764000" cy="24721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600" b="1" i="1">
                <a:latin typeface="Arial" panose="020B0604020202020204" pitchFamily="34" charset="0"/>
                <a:cs typeface="Arial" panose="020B0604020202020204" pitchFamily="34" charset="0"/>
              </a:rPr>
              <a:t>Totali Programmi che hanno svolto verifiche di gestione su base rischio</a:t>
            </a:r>
          </a:p>
          <a:p>
            <a:pPr algn="ctr">
              <a:spcAft>
                <a:spcPts val="600"/>
              </a:spcAft>
              <a:defRPr/>
            </a:pPr>
            <a:endParaRPr lang="it-IT" sz="2000" b="1" i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9223B943-954A-502E-A0A1-9846DEC59A88}"/>
              </a:ext>
            </a:extLst>
          </p:cNvPr>
          <p:cNvSpPr txBox="1"/>
          <p:nvPr/>
        </p:nvSpPr>
        <p:spPr>
          <a:xfrm>
            <a:off x="10054852" y="4217058"/>
            <a:ext cx="1091630" cy="80510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nivers 55" panose="02000000000000000000" pitchFamily="2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3178609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F1669F-12BE-F46D-AE2E-98F8BD8DB3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95A883F-A249-D3D0-AAFB-46E9A3DFF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43842B-A32A-49BD-A497-95FC235F58CB}" type="slidenum">
              <a:rPr lang="it-IT" smtClean="0">
                <a:solidFill>
                  <a:srgbClr val="002776"/>
                </a:solidFill>
              </a:rPr>
              <a:pPr/>
              <a:t>5</a:t>
            </a:fld>
            <a:endParaRPr lang="it-IT">
              <a:solidFill>
                <a:srgbClr val="002776"/>
              </a:solidFill>
            </a:endParaRP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FD1C4070-314F-4772-9EB8-B8399D6F0F2B}"/>
              </a:ext>
            </a:extLst>
          </p:cNvPr>
          <p:cNvSpPr txBox="1"/>
          <p:nvPr/>
        </p:nvSpPr>
        <p:spPr>
          <a:xfrm>
            <a:off x="9718667" y="2560865"/>
            <a:ext cx="1764000" cy="24721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600" b="1" i="1">
                <a:latin typeface="Arial" panose="020B0604020202020204" pitchFamily="34" charset="0"/>
                <a:cs typeface="Arial" panose="020B0604020202020204" pitchFamily="34" charset="0"/>
              </a:rPr>
              <a:t>Totali Programmi che hanno svolto verifiche di gestione su base rischio</a:t>
            </a:r>
          </a:p>
          <a:p>
            <a:pPr algn="ctr">
              <a:spcAft>
                <a:spcPts val="600"/>
              </a:spcAft>
              <a:defRPr/>
            </a:pPr>
            <a:endParaRPr lang="it-IT" sz="2000" b="1" i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64422462-229F-A403-BB6A-1E9571F05D51}"/>
              </a:ext>
            </a:extLst>
          </p:cNvPr>
          <p:cNvSpPr txBox="1"/>
          <p:nvPr/>
        </p:nvSpPr>
        <p:spPr>
          <a:xfrm>
            <a:off x="10054852" y="4217058"/>
            <a:ext cx="1091630" cy="80510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nivers 55" panose="02000000000000000000" pitchFamily="2" charset="0"/>
              </a:rPr>
              <a:t>0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13226282-5570-187C-DA9A-CD3A4C925727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9" name="Sottotitolo 2">
            <a:extLst>
              <a:ext uri="{FF2B5EF4-FFF2-40B4-BE49-F238E27FC236}">
                <a16:creationId xmlns:a16="http://schemas.microsoft.com/office/drawing/2014/main" id="{C0BC97EC-613E-4DB3-5CA9-456A4D8D76EF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graphicFrame>
        <p:nvGraphicFramePr>
          <p:cNvPr id="24" name="Chart 5">
            <a:extLst>
              <a:ext uri="{FF2B5EF4-FFF2-40B4-BE49-F238E27FC236}">
                <a16:creationId xmlns:a16="http://schemas.microsoft.com/office/drawing/2014/main" id="{6B44B656-0640-FFE8-DDD1-35CF8015DF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1461810"/>
              </p:ext>
            </p:extLst>
          </p:nvPr>
        </p:nvGraphicFramePr>
        <p:xfrm>
          <a:off x="755797" y="2081316"/>
          <a:ext cx="3362155" cy="2494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sellaDiTesto 6">
            <a:extLst>
              <a:ext uri="{FF2B5EF4-FFF2-40B4-BE49-F238E27FC236}">
                <a16:creationId xmlns:a16="http://schemas.microsoft.com/office/drawing/2014/main" id="{D271B3A6-702C-3765-D52B-F2BAD9F0A172}"/>
              </a:ext>
            </a:extLst>
          </p:cNvPr>
          <p:cNvSpPr txBox="1"/>
          <p:nvPr/>
        </p:nvSpPr>
        <p:spPr>
          <a:xfrm>
            <a:off x="5116770" y="1705855"/>
            <a:ext cx="3494955" cy="356142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400" b="1" i="1">
                <a:latin typeface="Arial"/>
              </a:rPr>
              <a:t>Verifiche di gestione svolte sulla base di un’analisi del rischio per Fondo</a:t>
            </a:r>
          </a:p>
        </p:txBody>
      </p: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D8E161E7-EA3E-8BA6-4579-8433BD26EE32}"/>
              </a:ext>
            </a:extLst>
          </p:cNvPr>
          <p:cNvGrpSpPr/>
          <p:nvPr/>
        </p:nvGrpSpPr>
        <p:grpSpPr>
          <a:xfrm>
            <a:off x="5116770" y="2293676"/>
            <a:ext cx="3706940" cy="3114936"/>
            <a:chOff x="5028422" y="2219849"/>
            <a:chExt cx="3706940" cy="3114936"/>
          </a:xfrm>
        </p:grpSpPr>
        <p:grpSp>
          <p:nvGrpSpPr>
            <p:cNvPr id="22" name="Gruppo 21">
              <a:extLst>
                <a:ext uri="{FF2B5EF4-FFF2-40B4-BE49-F238E27FC236}">
                  <a16:creationId xmlns:a16="http://schemas.microsoft.com/office/drawing/2014/main" id="{A89AC63B-BBD4-E155-9472-6A766596C4CD}"/>
                </a:ext>
              </a:extLst>
            </p:cNvPr>
            <p:cNvGrpSpPr/>
            <p:nvPr/>
          </p:nvGrpSpPr>
          <p:grpSpPr>
            <a:xfrm>
              <a:off x="5028422" y="2219849"/>
              <a:ext cx="3706940" cy="3114936"/>
              <a:chOff x="2856441" y="2265650"/>
              <a:chExt cx="3531168" cy="2993079"/>
            </a:xfrm>
          </p:grpSpPr>
          <p:sp>
            <p:nvSpPr>
              <p:cNvPr id="34" name="Rectangle 1">
                <a:extLst>
                  <a:ext uri="{FF2B5EF4-FFF2-40B4-BE49-F238E27FC236}">
                    <a16:creationId xmlns:a16="http://schemas.microsoft.com/office/drawing/2014/main" id="{51F9651A-4A41-7433-9EDD-785A7AA0796D}"/>
                  </a:ext>
                </a:extLst>
              </p:cNvPr>
              <p:cNvSpPr/>
              <p:nvPr/>
            </p:nvSpPr>
            <p:spPr>
              <a:xfrm>
                <a:off x="2856441" y="2265650"/>
                <a:ext cx="3531168" cy="299307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>
                  <a:defRPr/>
                </a:pPr>
                <a:endParaRPr lang="it-IT" sz="1500" err="1">
                  <a:solidFill>
                    <a:schemeClr val="tx1"/>
                  </a:solidFill>
                  <a:latin typeface="Arial"/>
                </a:endParaRPr>
              </a:p>
            </p:txBody>
          </p:sp>
          <p:sp>
            <p:nvSpPr>
              <p:cNvPr id="35" name="CasellaDiTesto 34">
                <a:extLst>
                  <a:ext uri="{FF2B5EF4-FFF2-40B4-BE49-F238E27FC236}">
                    <a16:creationId xmlns:a16="http://schemas.microsoft.com/office/drawing/2014/main" id="{BFAA5AFB-3DE9-046F-C6E9-23D70DD52099}"/>
                  </a:ext>
                </a:extLst>
              </p:cNvPr>
              <p:cNvSpPr txBox="1"/>
              <p:nvPr/>
            </p:nvSpPr>
            <p:spPr>
              <a:xfrm>
                <a:off x="3584838" y="2524029"/>
                <a:ext cx="635086" cy="29758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/>
              <a:p>
                <a:pPr>
                  <a:spcAft>
                    <a:spcPts val="600"/>
                  </a:spcAft>
                  <a:defRPr/>
                </a:pPr>
                <a:r>
                  <a:rPr lang="it-IT" sz="1400">
                    <a:latin typeface="Arial" panose="020B0604020202020204" pitchFamily="34" charset="0"/>
                    <a:cs typeface="Arial" panose="020B0604020202020204" pitchFamily="34" charset="0"/>
                  </a:rPr>
                  <a:t>FSE+</a:t>
                </a:r>
              </a:p>
            </p:txBody>
          </p:sp>
          <p:sp>
            <p:nvSpPr>
              <p:cNvPr id="36" name="Rettangolo 35">
                <a:extLst>
                  <a:ext uri="{FF2B5EF4-FFF2-40B4-BE49-F238E27FC236}">
                    <a16:creationId xmlns:a16="http://schemas.microsoft.com/office/drawing/2014/main" id="{811163E6-2400-5367-A4CE-D819560F94D9}"/>
                  </a:ext>
                </a:extLst>
              </p:cNvPr>
              <p:cNvSpPr/>
              <p:nvPr/>
            </p:nvSpPr>
            <p:spPr>
              <a:xfrm>
                <a:off x="3066144" y="2573421"/>
                <a:ext cx="499601" cy="198796"/>
              </a:xfrm>
              <a:prstGeom prst="rect">
                <a:avLst/>
              </a:prstGeom>
              <a:solidFill>
                <a:srgbClr val="00C0AE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>
                  <a:defRPr/>
                </a:pPr>
                <a:endParaRPr lang="it-IT" sz="1500" err="1">
                  <a:solidFill>
                    <a:schemeClr val="tx1"/>
                  </a:solidFill>
                  <a:latin typeface="Arial"/>
                </a:endParaRPr>
              </a:p>
            </p:txBody>
          </p:sp>
          <p:sp>
            <p:nvSpPr>
              <p:cNvPr id="37" name="Rettangolo 36">
                <a:extLst>
                  <a:ext uri="{FF2B5EF4-FFF2-40B4-BE49-F238E27FC236}">
                    <a16:creationId xmlns:a16="http://schemas.microsoft.com/office/drawing/2014/main" id="{83A3752B-5ECA-A075-46DB-C22EA2605A6D}"/>
                  </a:ext>
                </a:extLst>
              </p:cNvPr>
              <p:cNvSpPr/>
              <p:nvPr/>
            </p:nvSpPr>
            <p:spPr>
              <a:xfrm>
                <a:off x="5336555" y="2574320"/>
                <a:ext cx="679239" cy="19699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ctr">
                  <a:defRPr/>
                </a:pPr>
                <a:r>
                  <a:rPr lang="it-IT" sz="1500" b="1" i="1">
                    <a:solidFill>
                      <a:schemeClr val="tx1"/>
                    </a:solidFill>
                    <a:latin typeface="Arial"/>
                  </a:rPr>
                  <a:t>0</a:t>
                </a:r>
              </a:p>
            </p:txBody>
          </p:sp>
          <p:sp>
            <p:nvSpPr>
              <p:cNvPr id="38" name="CasellaDiTesto 37">
                <a:extLst>
                  <a:ext uri="{FF2B5EF4-FFF2-40B4-BE49-F238E27FC236}">
                    <a16:creationId xmlns:a16="http://schemas.microsoft.com/office/drawing/2014/main" id="{728F627D-FEC0-11E9-8699-B7E085D25DC4}"/>
                  </a:ext>
                </a:extLst>
              </p:cNvPr>
              <p:cNvSpPr txBox="1"/>
              <p:nvPr/>
            </p:nvSpPr>
            <p:spPr>
              <a:xfrm>
                <a:off x="3620318" y="3038947"/>
                <a:ext cx="635086" cy="29758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/>
              <a:p>
                <a:pPr>
                  <a:spcAft>
                    <a:spcPts val="600"/>
                  </a:spcAft>
                  <a:defRPr/>
                </a:pPr>
                <a:r>
                  <a:rPr lang="it-IT" sz="1400">
                    <a:latin typeface="Arial" panose="020B0604020202020204" pitchFamily="34" charset="0"/>
                    <a:cs typeface="Arial" panose="020B0604020202020204" pitchFamily="34" charset="0"/>
                  </a:rPr>
                  <a:t>FESR</a:t>
                </a:r>
              </a:p>
            </p:txBody>
          </p:sp>
          <p:sp>
            <p:nvSpPr>
              <p:cNvPr id="39" name="Rettangolo 38">
                <a:extLst>
                  <a:ext uri="{FF2B5EF4-FFF2-40B4-BE49-F238E27FC236}">
                    <a16:creationId xmlns:a16="http://schemas.microsoft.com/office/drawing/2014/main" id="{BD2CA823-ECD6-17C9-176B-89476F554C81}"/>
                  </a:ext>
                </a:extLst>
              </p:cNvPr>
              <p:cNvSpPr/>
              <p:nvPr/>
            </p:nvSpPr>
            <p:spPr>
              <a:xfrm>
                <a:off x="3066144" y="3088339"/>
                <a:ext cx="499601" cy="198796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>
                  <a:defRPr/>
                </a:pPr>
                <a:endParaRPr lang="it-IT" sz="1500" err="1">
                  <a:solidFill>
                    <a:schemeClr val="tx1"/>
                  </a:solidFill>
                  <a:latin typeface="Arial"/>
                </a:endParaRPr>
              </a:p>
            </p:txBody>
          </p:sp>
          <p:sp>
            <p:nvSpPr>
              <p:cNvPr id="40" name="Rettangolo 39">
                <a:extLst>
                  <a:ext uri="{FF2B5EF4-FFF2-40B4-BE49-F238E27FC236}">
                    <a16:creationId xmlns:a16="http://schemas.microsoft.com/office/drawing/2014/main" id="{8EBE9EE0-8F7A-74FE-C69C-D0E976CD24BE}"/>
                  </a:ext>
                </a:extLst>
              </p:cNvPr>
              <p:cNvSpPr/>
              <p:nvPr/>
            </p:nvSpPr>
            <p:spPr>
              <a:xfrm>
                <a:off x="5336555" y="3077300"/>
                <a:ext cx="679239" cy="19699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ctr">
                  <a:defRPr/>
                </a:pPr>
                <a:r>
                  <a:rPr lang="it-IT" sz="1500" b="1" i="1">
                    <a:solidFill>
                      <a:schemeClr val="tx1"/>
                    </a:solidFill>
                    <a:latin typeface="Arial"/>
                  </a:rPr>
                  <a:t>0</a:t>
                </a:r>
              </a:p>
            </p:txBody>
          </p:sp>
          <p:sp>
            <p:nvSpPr>
              <p:cNvPr id="41" name="CasellaDiTesto 40">
                <a:extLst>
                  <a:ext uri="{FF2B5EF4-FFF2-40B4-BE49-F238E27FC236}">
                    <a16:creationId xmlns:a16="http://schemas.microsoft.com/office/drawing/2014/main" id="{1167F330-37E1-DC03-1F8C-1E1A066B5436}"/>
                  </a:ext>
                </a:extLst>
              </p:cNvPr>
              <p:cNvSpPr txBox="1"/>
              <p:nvPr/>
            </p:nvSpPr>
            <p:spPr>
              <a:xfrm>
                <a:off x="3620105" y="4049898"/>
                <a:ext cx="900000" cy="29758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/>
              <a:p>
                <a:pPr>
                  <a:spcAft>
                    <a:spcPts val="600"/>
                  </a:spcAft>
                  <a:defRPr/>
                </a:pPr>
                <a:r>
                  <a:rPr lang="it-IT" sz="1400">
                    <a:latin typeface="Arial" panose="020B0604020202020204" pitchFamily="34" charset="0"/>
                    <a:cs typeface="Arial" panose="020B0604020202020204" pitchFamily="34" charset="0"/>
                  </a:rPr>
                  <a:t>JTF</a:t>
                </a:r>
              </a:p>
            </p:txBody>
          </p:sp>
          <p:sp>
            <p:nvSpPr>
              <p:cNvPr id="42" name="Rettangolo 41">
                <a:extLst>
                  <a:ext uri="{FF2B5EF4-FFF2-40B4-BE49-F238E27FC236}">
                    <a16:creationId xmlns:a16="http://schemas.microsoft.com/office/drawing/2014/main" id="{AA6267F6-E0EA-7D4F-1D06-4E99B11463DD}"/>
                  </a:ext>
                </a:extLst>
              </p:cNvPr>
              <p:cNvSpPr/>
              <p:nvPr/>
            </p:nvSpPr>
            <p:spPr>
              <a:xfrm>
                <a:off x="3065053" y="4127367"/>
                <a:ext cx="499601" cy="198796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>
                  <a:defRPr/>
                </a:pPr>
                <a:endParaRPr lang="it-IT" sz="1500" err="1">
                  <a:solidFill>
                    <a:schemeClr val="tx1"/>
                  </a:solidFill>
                  <a:latin typeface="Arial"/>
                </a:endParaRPr>
              </a:p>
            </p:txBody>
          </p:sp>
          <p:sp>
            <p:nvSpPr>
              <p:cNvPr id="43" name="Rettangolo 42">
                <a:extLst>
                  <a:ext uri="{FF2B5EF4-FFF2-40B4-BE49-F238E27FC236}">
                    <a16:creationId xmlns:a16="http://schemas.microsoft.com/office/drawing/2014/main" id="{8ABA88F7-8593-E182-42F7-D0C2E9BBC076}"/>
                  </a:ext>
                </a:extLst>
              </p:cNvPr>
              <p:cNvSpPr/>
              <p:nvPr/>
            </p:nvSpPr>
            <p:spPr>
              <a:xfrm>
                <a:off x="5336555" y="4142583"/>
                <a:ext cx="679239" cy="19699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ctr">
                  <a:defRPr/>
                </a:pPr>
                <a:r>
                  <a:rPr lang="it-IT" sz="1500" b="1" i="1">
                    <a:solidFill>
                      <a:schemeClr val="tx1"/>
                    </a:solidFill>
                    <a:latin typeface="Arial"/>
                  </a:rPr>
                  <a:t>0</a:t>
                </a:r>
              </a:p>
            </p:txBody>
          </p:sp>
          <p:sp>
            <p:nvSpPr>
              <p:cNvPr id="44" name="CasellaDiTesto 43">
                <a:extLst>
                  <a:ext uri="{FF2B5EF4-FFF2-40B4-BE49-F238E27FC236}">
                    <a16:creationId xmlns:a16="http://schemas.microsoft.com/office/drawing/2014/main" id="{7FF0D572-9EA5-5A2C-8CF3-B339D2AFCBF0}"/>
                  </a:ext>
                </a:extLst>
              </p:cNvPr>
              <p:cNvSpPr txBox="1"/>
              <p:nvPr/>
            </p:nvSpPr>
            <p:spPr>
              <a:xfrm>
                <a:off x="3584838" y="4571579"/>
                <a:ext cx="987162" cy="29758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/>
              <a:p>
                <a:pPr>
                  <a:spcAft>
                    <a:spcPts val="600"/>
                  </a:spcAft>
                  <a:defRPr/>
                </a:pPr>
                <a:r>
                  <a:rPr lang="it-IT" sz="1400">
                    <a:latin typeface="Arial" panose="020B0604020202020204" pitchFamily="34" charset="0"/>
                    <a:cs typeface="Arial" panose="020B0604020202020204" pitchFamily="34" charset="0"/>
                  </a:rPr>
                  <a:t>FEAMPA</a:t>
                </a:r>
              </a:p>
            </p:txBody>
          </p:sp>
          <p:sp>
            <p:nvSpPr>
              <p:cNvPr id="45" name="Rettangolo 44">
                <a:extLst>
                  <a:ext uri="{FF2B5EF4-FFF2-40B4-BE49-F238E27FC236}">
                    <a16:creationId xmlns:a16="http://schemas.microsoft.com/office/drawing/2014/main" id="{E07B85C9-ACD7-892E-81FD-E92512031B7C}"/>
                  </a:ext>
                </a:extLst>
              </p:cNvPr>
              <p:cNvSpPr/>
              <p:nvPr/>
            </p:nvSpPr>
            <p:spPr>
              <a:xfrm>
                <a:off x="3066144" y="4620971"/>
                <a:ext cx="499601" cy="198796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>
                  <a:defRPr/>
                </a:pPr>
                <a:endParaRPr lang="it-IT" sz="1500" err="1">
                  <a:solidFill>
                    <a:schemeClr val="tx1"/>
                  </a:solidFill>
                  <a:latin typeface="Arial"/>
                </a:endParaRPr>
              </a:p>
            </p:txBody>
          </p:sp>
          <p:sp>
            <p:nvSpPr>
              <p:cNvPr id="46" name="Rettangolo 45">
                <a:extLst>
                  <a:ext uri="{FF2B5EF4-FFF2-40B4-BE49-F238E27FC236}">
                    <a16:creationId xmlns:a16="http://schemas.microsoft.com/office/drawing/2014/main" id="{214B2EEA-841A-7CA0-430F-1D66FC96A157}"/>
                  </a:ext>
                </a:extLst>
              </p:cNvPr>
              <p:cNvSpPr/>
              <p:nvPr/>
            </p:nvSpPr>
            <p:spPr>
              <a:xfrm>
                <a:off x="5336555" y="4621870"/>
                <a:ext cx="679239" cy="19699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ctr">
                  <a:defRPr/>
                </a:pPr>
                <a:r>
                  <a:rPr lang="it-IT" sz="1500" b="1" i="1">
                    <a:solidFill>
                      <a:schemeClr val="tx1"/>
                    </a:solidFill>
                    <a:latin typeface="Arial"/>
                  </a:rPr>
                  <a:t>0</a:t>
                </a:r>
              </a:p>
            </p:txBody>
          </p:sp>
        </p:grpSp>
        <p:sp>
          <p:nvSpPr>
            <p:cNvPr id="23" name="Rettangolo 22">
              <a:extLst>
                <a:ext uri="{FF2B5EF4-FFF2-40B4-BE49-F238E27FC236}">
                  <a16:creationId xmlns:a16="http://schemas.microsoft.com/office/drawing/2014/main" id="{A7573B45-B38B-32E1-08CC-E844F97C0ABD}"/>
                </a:ext>
              </a:extLst>
            </p:cNvPr>
            <p:cNvSpPr/>
            <p:nvPr/>
          </p:nvSpPr>
          <p:spPr>
            <a:xfrm>
              <a:off x="5247418" y="3657874"/>
              <a:ext cx="524470" cy="206890"/>
            </a:xfrm>
            <a:prstGeom prst="rect">
              <a:avLst/>
            </a:prstGeom>
            <a:solidFill>
              <a:srgbClr val="FFC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C2DCE16C-810A-3305-2D46-052B127166DE}"/>
                </a:ext>
              </a:extLst>
            </p:cNvPr>
            <p:cNvSpPr txBox="1"/>
            <p:nvPr/>
          </p:nvSpPr>
          <p:spPr>
            <a:xfrm>
              <a:off x="5859460" y="3625187"/>
              <a:ext cx="1225522" cy="2416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Plurifondo</a:t>
              </a:r>
            </a:p>
          </p:txBody>
        </p:sp>
        <p:sp>
          <p:nvSpPr>
            <p:cNvPr id="31" name="Rettangolo 30">
              <a:extLst>
                <a:ext uri="{FF2B5EF4-FFF2-40B4-BE49-F238E27FC236}">
                  <a16:creationId xmlns:a16="http://schemas.microsoft.com/office/drawing/2014/main" id="{752FDB7E-B950-7EF6-EC1B-48276ACC2DD9}"/>
                </a:ext>
              </a:extLst>
            </p:cNvPr>
            <p:cNvSpPr/>
            <p:nvPr/>
          </p:nvSpPr>
          <p:spPr>
            <a:xfrm>
              <a:off x="7631989" y="3651500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chemeClr val="tx1"/>
                  </a:solidFill>
                  <a:latin typeface="Arial"/>
                </a:rPr>
                <a:t>0</a:t>
              </a:r>
            </a:p>
          </p:txBody>
        </p:sp>
      </p:grp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08ADC25F-2476-9AE6-D362-AC7248CE077C}"/>
              </a:ext>
            </a:extLst>
          </p:cNvPr>
          <p:cNvSpPr txBox="1"/>
          <p:nvPr/>
        </p:nvSpPr>
        <p:spPr>
          <a:xfrm>
            <a:off x="512063" y="1428295"/>
            <a:ext cx="3849624" cy="665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1862" b="1" i="0" u="none" strike="noStrike" kern="1200" spc="0" baseline="0">
                <a:solidFill>
                  <a:srgbClr val="00277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 err="1"/>
              <a:t>Tipologie</a:t>
            </a:r>
            <a:r>
              <a:rPr lang="en-US" b="1"/>
              <a:t> di </a:t>
            </a:r>
            <a:r>
              <a:rPr lang="en-US" b="1" err="1"/>
              <a:t>Verifiche</a:t>
            </a:r>
            <a:r>
              <a:rPr lang="en-US" b="1"/>
              <a:t> di </a:t>
            </a:r>
            <a:r>
              <a:rPr lang="en-US" b="1" err="1"/>
              <a:t>Gestione</a:t>
            </a:r>
            <a:r>
              <a:rPr lang="en-US" b="1"/>
              <a:t> </a:t>
            </a:r>
            <a:r>
              <a:rPr lang="en-US" b="1" err="1"/>
              <a:t>effettuate</a:t>
            </a:r>
            <a:endParaRPr lang="en-US" b="1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5554B944-57F5-E919-8743-059F68E74AF3}"/>
              </a:ext>
            </a:extLst>
          </p:cNvPr>
          <p:cNvSpPr txBox="1"/>
          <p:nvPr/>
        </p:nvSpPr>
        <p:spPr>
          <a:xfrm>
            <a:off x="30425" y="395294"/>
            <a:ext cx="12192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kern="0" cap="small">
                <a:solidFill>
                  <a:srgbClr val="0B3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ultati per periodo contabile: II </a:t>
            </a:r>
            <a:r>
              <a:rPr lang="it-IT" sz="2400" b="1" kern="0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P</a:t>
            </a:r>
            <a:r>
              <a:rPr lang="it-IT" sz="2400" b="1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eriodo contabile </a:t>
            </a:r>
            <a:r>
              <a:rPr kumimoji="0" lang="it-IT" sz="2400" b="1" i="0" u="none" strike="noStrike" kern="1200" cap="small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(</a:t>
            </a:r>
            <a:r>
              <a:rPr kumimoji="0" lang="it-IT" sz="1800" b="1" i="0" u="none" strike="noStrike" kern="1200" cap="small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dal 01.07.2022 al 30.06.2023</a:t>
            </a:r>
            <a:r>
              <a:rPr kumimoji="0" lang="it-IT" sz="2400" b="1" i="0" u="none" strike="noStrike" kern="1200" cap="small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)</a:t>
            </a:r>
            <a:endParaRPr lang="it-IT" sz="2400" b="1" cap="small">
              <a:solidFill>
                <a:srgbClr val="002776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  <a:p>
            <a:endParaRPr lang="it-IT" sz="3600" b="1" kern="0" cap="small">
              <a:solidFill>
                <a:srgbClr val="0B3066"/>
              </a:solidFill>
              <a:cs typeface="Arial" panose="020B0604020202020204" pitchFamily="34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ABBC822D-BAD0-3465-18B3-76FE658947F4}"/>
              </a:ext>
            </a:extLst>
          </p:cNvPr>
          <p:cNvSpPr txBox="1"/>
          <p:nvPr/>
        </p:nvSpPr>
        <p:spPr>
          <a:xfrm>
            <a:off x="596056" y="4764267"/>
            <a:ext cx="402130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400">
                <a:latin typeface="Arial" panose="020B0604020202020204" pitchFamily="34" charset="0"/>
                <a:cs typeface="Arial" panose="020B0604020202020204" pitchFamily="34" charset="0"/>
              </a:rPr>
              <a:t>Nel corso del II periodo contabile le verifiche di gestione sono state effettuate per 1 solo Programma. A causa del ridotto numero di operazioni le verifiche di gestione sono state eseguite sul 100% delle domande di rimborso. </a:t>
            </a:r>
            <a:endParaRPr lang="it-IT" sz="1400"/>
          </a:p>
        </p:txBody>
      </p:sp>
    </p:spTree>
    <p:extLst>
      <p:ext uri="{BB962C8B-B14F-4D97-AF65-F5344CB8AC3E}">
        <p14:creationId xmlns:p14="http://schemas.microsoft.com/office/powerpoint/2010/main" val="3993737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3B2C49-1663-CA9C-6DB8-2A4BCB3E38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F9128AF-8782-6413-DA85-E3E14C64E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43842B-A32A-49BD-A497-95FC235F58CB}" type="slidenum">
              <a:rPr lang="it-IT" smtClean="0">
                <a:solidFill>
                  <a:srgbClr val="002776"/>
                </a:solidFill>
              </a:rPr>
              <a:pPr/>
              <a:t>6</a:t>
            </a:fld>
            <a:endParaRPr lang="it-IT">
              <a:solidFill>
                <a:srgbClr val="002776"/>
              </a:solidFill>
            </a:endParaRP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E7666AE7-A521-54A5-B845-5CBD24DA0402}"/>
              </a:ext>
            </a:extLst>
          </p:cNvPr>
          <p:cNvSpPr txBox="1"/>
          <p:nvPr/>
        </p:nvSpPr>
        <p:spPr>
          <a:xfrm>
            <a:off x="10678816" y="4239934"/>
            <a:ext cx="1091630" cy="80510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2FB518E4-BA16-608F-AA55-4B3CCD04854F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9" name="Sottotitolo 2">
            <a:extLst>
              <a:ext uri="{FF2B5EF4-FFF2-40B4-BE49-F238E27FC236}">
                <a16:creationId xmlns:a16="http://schemas.microsoft.com/office/drawing/2014/main" id="{1AD70E14-56AF-7F2C-0BCB-678863830C70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07E3178A-1B7F-6F70-B69F-A3DC62A78834}"/>
              </a:ext>
            </a:extLst>
          </p:cNvPr>
          <p:cNvSpPr/>
          <p:nvPr/>
        </p:nvSpPr>
        <p:spPr>
          <a:xfrm>
            <a:off x="6399584" y="2111639"/>
            <a:ext cx="3706940" cy="31149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schemeClr val="tx1"/>
              </a:solidFill>
              <a:latin typeface="Arial"/>
            </a:endParaRPr>
          </a:p>
        </p:txBody>
      </p:sp>
      <p:grpSp>
        <p:nvGrpSpPr>
          <p:cNvPr id="6" name="Gruppo 5">
            <a:extLst>
              <a:ext uri="{FF2B5EF4-FFF2-40B4-BE49-F238E27FC236}">
                <a16:creationId xmlns:a16="http://schemas.microsoft.com/office/drawing/2014/main" id="{4DE9CBD6-60F0-CDA4-6C95-100AEFBE1D35}"/>
              </a:ext>
            </a:extLst>
          </p:cNvPr>
          <p:cNvGrpSpPr/>
          <p:nvPr/>
        </p:nvGrpSpPr>
        <p:grpSpPr>
          <a:xfrm>
            <a:off x="6632267" y="2427116"/>
            <a:ext cx="3096476" cy="309696"/>
            <a:chOff x="6632267" y="2427116"/>
            <a:chExt cx="3096476" cy="309696"/>
          </a:xfrm>
        </p:grpSpPr>
        <p:sp>
          <p:nvSpPr>
            <p:cNvPr id="12" name="CasellaDiTesto 11">
              <a:extLst>
                <a:ext uri="{FF2B5EF4-FFF2-40B4-BE49-F238E27FC236}">
                  <a16:creationId xmlns:a16="http://schemas.microsoft.com/office/drawing/2014/main" id="{A311D808-A74A-948F-856F-CBA1C58C3BC9}"/>
                </a:ext>
              </a:extLst>
            </p:cNvPr>
            <p:cNvSpPr txBox="1"/>
            <p:nvPr/>
          </p:nvSpPr>
          <p:spPr>
            <a:xfrm>
              <a:off x="7176780" y="2427116"/>
              <a:ext cx="666699" cy="309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FSE+</a:t>
              </a:r>
            </a:p>
          </p:txBody>
        </p:sp>
        <p:sp>
          <p:nvSpPr>
            <p:cNvPr id="13" name="Rettangolo 12">
              <a:extLst>
                <a:ext uri="{FF2B5EF4-FFF2-40B4-BE49-F238E27FC236}">
                  <a16:creationId xmlns:a16="http://schemas.microsoft.com/office/drawing/2014/main" id="{0AAA8267-6B1B-A14C-5C68-F9CD6361C4B4}"/>
                </a:ext>
              </a:extLst>
            </p:cNvPr>
            <p:cNvSpPr/>
            <p:nvPr/>
          </p:nvSpPr>
          <p:spPr>
            <a:xfrm>
              <a:off x="6632267" y="2478519"/>
              <a:ext cx="524470" cy="206890"/>
            </a:xfrm>
            <a:prstGeom prst="rect">
              <a:avLst/>
            </a:prstGeom>
            <a:solidFill>
              <a:srgbClr val="00C0AE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14" name="Rettangolo 13">
              <a:extLst>
                <a:ext uri="{FF2B5EF4-FFF2-40B4-BE49-F238E27FC236}">
                  <a16:creationId xmlns:a16="http://schemas.microsoft.com/office/drawing/2014/main" id="{C5E819D2-A449-6BE7-EE9B-A0D48E6D0975}"/>
                </a:ext>
              </a:extLst>
            </p:cNvPr>
            <p:cNvSpPr/>
            <p:nvPr/>
          </p:nvSpPr>
          <p:spPr>
            <a:xfrm>
              <a:off x="9015693" y="2479455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chemeClr val="tx1"/>
                  </a:solidFill>
                  <a:latin typeface="Arial"/>
                </a:rPr>
                <a:t>1</a:t>
              </a:r>
            </a:p>
          </p:txBody>
        </p:sp>
      </p:grpSp>
      <p:grpSp>
        <p:nvGrpSpPr>
          <p:cNvPr id="8" name="Gruppo 7">
            <a:extLst>
              <a:ext uri="{FF2B5EF4-FFF2-40B4-BE49-F238E27FC236}">
                <a16:creationId xmlns:a16="http://schemas.microsoft.com/office/drawing/2014/main" id="{A23139F5-2C9D-C3AC-C9A1-D5B47A55DB38}"/>
              </a:ext>
            </a:extLst>
          </p:cNvPr>
          <p:cNvGrpSpPr/>
          <p:nvPr/>
        </p:nvGrpSpPr>
        <p:grpSpPr>
          <a:xfrm>
            <a:off x="6632267" y="2976855"/>
            <a:ext cx="3096476" cy="309696"/>
            <a:chOff x="6632267" y="2950573"/>
            <a:chExt cx="3096476" cy="309696"/>
          </a:xfrm>
        </p:grpSpPr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A6D492BE-8BBE-68C9-ACFB-94889BFD552E}"/>
                </a:ext>
              </a:extLst>
            </p:cNvPr>
            <p:cNvSpPr txBox="1"/>
            <p:nvPr/>
          </p:nvSpPr>
          <p:spPr>
            <a:xfrm>
              <a:off x="7176780" y="2950573"/>
              <a:ext cx="666699" cy="309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FESR</a:t>
              </a:r>
            </a:p>
          </p:txBody>
        </p:sp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0FE1B07C-714E-5D67-E564-5CED281D7C4D}"/>
                </a:ext>
              </a:extLst>
            </p:cNvPr>
            <p:cNvSpPr/>
            <p:nvPr/>
          </p:nvSpPr>
          <p:spPr>
            <a:xfrm>
              <a:off x="6632267" y="3001976"/>
              <a:ext cx="524470" cy="20689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17" name="Rettangolo 16">
              <a:extLst>
                <a:ext uri="{FF2B5EF4-FFF2-40B4-BE49-F238E27FC236}">
                  <a16:creationId xmlns:a16="http://schemas.microsoft.com/office/drawing/2014/main" id="{F6754FDE-BB1B-EA45-167E-9294E2003880}"/>
                </a:ext>
              </a:extLst>
            </p:cNvPr>
            <p:cNvSpPr/>
            <p:nvPr/>
          </p:nvSpPr>
          <p:spPr>
            <a:xfrm>
              <a:off x="9015693" y="3002912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chemeClr val="tx1"/>
                  </a:solidFill>
                  <a:latin typeface="Arial"/>
                </a:rPr>
                <a:t>1</a:t>
              </a:r>
            </a:p>
          </p:txBody>
        </p:sp>
      </p:grp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E7406FD7-45A2-3508-CD42-4FBC9BD8B2F9}"/>
              </a:ext>
            </a:extLst>
          </p:cNvPr>
          <p:cNvGrpSpPr/>
          <p:nvPr/>
        </p:nvGrpSpPr>
        <p:grpSpPr>
          <a:xfrm>
            <a:off x="6631122" y="4008288"/>
            <a:ext cx="3097621" cy="309696"/>
            <a:chOff x="6631122" y="4015107"/>
            <a:chExt cx="3097621" cy="309696"/>
          </a:xfrm>
        </p:grpSpPr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E6F939D8-E51D-7BEE-B41F-2B739AA01506}"/>
                </a:ext>
              </a:extLst>
            </p:cNvPr>
            <p:cNvSpPr txBox="1"/>
            <p:nvPr/>
          </p:nvSpPr>
          <p:spPr>
            <a:xfrm>
              <a:off x="7213803" y="4015107"/>
              <a:ext cx="944800" cy="309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JTF</a:t>
              </a:r>
            </a:p>
          </p:txBody>
        </p:sp>
        <p:sp>
          <p:nvSpPr>
            <p:cNvPr id="29" name="Rettangolo 28">
              <a:extLst>
                <a:ext uri="{FF2B5EF4-FFF2-40B4-BE49-F238E27FC236}">
                  <a16:creationId xmlns:a16="http://schemas.microsoft.com/office/drawing/2014/main" id="{6E5B91BE-8DC5-B97D-8413-267081EDE11E}"/>
                </a:ext>
              </a:extLst>
            </p:cNvPr>
            <p:cNvSpPr/>
            <p:nvPr/>
          </p:nvSpPr>
          <p:spPr>
            <a:xfrm>
              <a:off x="6631122" y="4066510"/>
              <a:ext cx="524470" cy="206890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30" name="Rettangolo 29">
              <a:extLst>
                <a:ext uri="{FF2B5EF4-FFF2-40B4-BE49-F238E27FC236}">
                  <a16:creationId xmlns:a16="http://schemas.microsoft.com/office/drawing/2014/main" id="{C0309AD4-8BA8-1A96-458C-CB6607A3D4E5}"/>
                </a:ext>
              </a:extLst>
            </p:cNvPr>
            <p:cNvSpPr/>
            <p:nvPr/>
          </p:nvSpPr>
          <p:spPr>
            <a:xfrm>
              <a:off x="9015693" y="4067446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chemeClr val="tx1"/>
                  </a:solidFill>
                  <a:latin typeface="Arial"/>
                </a:rPr>
                <a:t>0</a:t>
              </a:r>
            </a:p>
          </p:txBody>
        </p:sp>
      </p:grp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3DBBA4E3-05C6-5BDC-5AB4-D632FA9AA3D1}"/>
              </a:ext>
            </a:extLst>
          </p:cNvPr>
          <p:cNvGrpSpPr/>
          <p:nvPr/>
        </p:nvGrpSpPr>
        <p:grpSpPr>
          <a:xfrm>
            <a:off x="6632267" y="4558027"/>
            <a:ext cx="3096476" cy="309696"/>
            <a:chOff x="6632267" y="4558027"/>
            <a:chExt cx="3096476" cy="309696"/>
          </a:xfrm>
        </p:grpSpPr>
        <p:sp>
          <p:nvSpPr>
            <p:cNvPr id="32" name="CasellaDiTesto 31">
              <a:extLst>
                <a:ext uri="{FF2B5EF4-FFF2-40B4-BE49-F238E27FC236}">
                  <a16:creationId xmlns:a16="http://schemas.microsoft.com/office/drawing/2014/main" id="{2CB064F9-5B4D-1595-6243-9D667C625D3A}"/>
                </a:ext>
              </a:extLst>
            </p:cNvPr>
            <p:cNvSpPr txBox="1"/>
            <p:nvPr/>
          </p:nvSpPr>
          <p:spPr>
            <a:xfrm>
              <a:off x="7176780" y="4558027"/>
              <a:ext cx="1036300" cy="309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FEAMPA</a:t>
              </a:r>
            </a:p>
          </p:txBody>
        </p:sp>
        <p:sp>
          <p:nvSpPr>
            <p:cNvPr id="33" name="Rettangolo 32">
              <a:extLst>
                <a:ext uri="{FF2B5EF4-FFF2-40B4-BE49-F238E27FC236}">
                  <a16:creationId xmlns:a16="http://schemas.microsoft.com/office/drawing/2014/main" id="{1EC2788B-0B58-61B4-EEA8-918D6957FDA7}"/>
                </a:ext>
              </a:extLst>
            </p:cNvPr>
            <p:cNvSpPr/>
            <p:nvPr/>
          </p:nvSpPr>
          <p:spPr>
            <a:xfrm>
              <a:off x="6632267" y="4609430"/>
              <a:ext cx="524470" cy="2068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49" name="Rettangolo 48">
              <a:extLst>
                <a:ext uri="{FF2B5EF4-FFF2-40B4-BE49-F238E27FC236}">
                  <a16:creationId xmlns:a16="http://schemas.microsoft.com/office/drawing/2014/main" id="{A056B7F1-0698-A1A4-132D-79053719C06B}"/>
                </a:ext>
              </a:extLst>
            </p:cNvPr>
            <p:cNvSpPr/>
            <p:nvPr/>
          </p:nvSpPr>
          <p:spPr>
            <a:xfrm>
              <a:off x="9015693" y="4610366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chemeClr val="tx1"/>
                  </a:solidFill>
                  <a:latin typeface="Arial"/>
                </a:rPr>
                <a:t>0</a:t>
              </a:r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38B0556B-C544-8BEB-AA1C-AFD619903E90}"/>
              </a:ext>
            </a:extLst>
          </p:cNvPr>
          <p:cNvGrpSpPr/>
          <p:nvPr/>
        </p:nvGrpSpPr>
        <p:grpSpPr>
          <a:xfrm>
            <a:off x="6631122" y="3526594"/>
            <a:ext cx="3097621" cy="241651"/>
            <a:chOff x="6631122" y="3557183"/>
            <a:chExt cx="3097621" cy="241651"/>
          </a:xfrm>
        </p:grpSpPr>
        <p:sp>
          <p:nvSpPr>
            <p:cNvPr id="25" name="Rettangolo 24">
              <a:extLst>
                <a:ext uri="{FF2B5EF4-FFF2-40B4-BE49-F238E27FC236}">
                  <a16:creationId xmlns:a16="http://schemas.microsoft.com/office/drawing/2014/main" id="{80414EB0-0C7E-C135-BBA3-4F6DCC84A8E7}"/>
                </a:ext>
              </a:extLst>
            </p:cNvPr>
            <p:cNvSpPr/>
            <p:nvPr/>
          </p:nvSpPr>
          <p:spPr>
            <a:xfrm>
              <a:off x="6631122" y="3574563"/>
              <a:ext cx="524470" cy="206890"/>
            </a:xfrm>
            <a:prstGeom prst="rect">
              <a:avLst/>
            </a:prstGeom>
            <a:solidFill>
              <a:srgbClr val="FFC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26" name="CasellaDiTesto 25">
              <a:extLst>
                <a:ext uri="{FF2B5EF4-FFF2-40B4-BE49-F238E27FC236}">
                  <a16:creationId xmlns:a16="http://schemas.microsoft.com/office/drawing/2014/main" id="{3CE87851-D0F2-3A70-5F5D-B25DA5D15D99}"/>
                </a:ext>
              </a:extLst>
            </p:cNvPr>
            <p:cNvSpPr txBox="1"/>
            <p:nvPr/>
          </p:nvSpPr>
          <p:spPr>
            <a:xfrm>
              <a:off x="7213803" y="3557183"/>
              <a:ext cx="1225522" cy="2416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Plurifondo</a:t>
              </a:r>
            </a:p>
          </p:txBody>
        </p:sp>
        <p:sp>
          <p:nvSpPr>
            <p:cNvPr id="27" name="Rettangolo 26">
              <a:extLst>
                <a:ext uri="{FF2B5EF4-FFF2-40B4-BE49-F238E27FC236}">
                  <a16:creationId xmlns:a16="http://schemas.microsoft.com/office/drawing/2014/main" id="{E4FEA394-934F-1B93-3A0C-7C47E3B7D52F}"/>
                </a:ext>
              </a:extLst>
            </p:cNvPr>
            <p:cNvSpPr/>
            <p:nvPr/>
          </p:nvSpPr>
          <p:spPr>
            <a:xfrm>
              <a:off x="9015693" y="3575499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chemeClr val="tx1"/>
                  </a:solidFill>
                  <a:latin typeface="Arial"/>
                </a:rPr>
                <a:t>0</a:t>
              </a:r>
            </a:p>
          </p:txBody>
        </p:sp>
      </p:grpSp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97E710D1-018B-91E5-3788-1440E960FC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8023940"/>
              </p:ext>
            </p:extLst>
          </p:nvPr>
        </p:nvGraphicFramePr>
        <p:xfrm>
          <a:off x="-10862" y="1611352"/>
          <a:ext cx="6322874" cy="4172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CasellaDiTesto 4">
            <a:extLst>
              <a:ext uri="{FF2B5EF4-FFF2-40B4-BE49-F238E27FC236}">
                <a16:creationId xmlns:a16="http://schemas.microsoft.com/office/drawing/2014/main" id="{751CB66A-742E-48AE-4A47-45DB153E5474}"/>
              </a:ext>
            </a:extLst>
          </p:cNvPr>
          <p:cNvSpPr txBox="1"/>
          <p:nvPr/>
        </p:nvSpPr>
        <p:spPr>
          <a:xfrm>
            <a:off x="10339207" y="2613204"/>
            <a:ext cx="1764000" cy="24721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600" b="1" i="1">
                <a:latin typeface="Arial" panose="020B0604020202020204" pitchFamily="34" charset="0"/>
                <a:cs typeface="Arial" panose="020B0604020202020204" pitchFamily="34" charset="0"/>
              </a:rPr>
              <a:t>Totali Programmi che hanno svolto verifiche di gestione su base rischio</a:t>
            </a:r>
          </a:p>
          <a:p>
            <a:pPr algn="ctr">
              <a:spcAft>
                <a:spcPts val="600"/>
              </a:spcAft>
              <a:defRPr/>
            </a:pPr>
            <a:endParaRPr lang="it-IT" sz="2000" b="1" i="1">
              <a:latin typeface="Arial"/>
            </a:endParaRP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45441295-45A5-BDBA-9412-0B50B7F3B18B}"/>
              </a:ext>
            </a:extLst>
          </p:cNvPr>
          <p:cNvSpPr txBox="1"/>
          <p:nvPr/>
        </p:nvSpPr>
        <p:spPr>
          <a:xfrm>
            <a:off x="6513089" y="1681141"/>
            <a:ext cx="3494955" cy="356142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400" b="1" i="1">
                <a:latin typeface="Arial"/>
              </a:rPr>
              <a:t>Verifiche di gestione svolte sulla base di un’analisi del rischio per Fond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1048F67-34CD-2A66-E4FA-67BF45D1606E}"/>
              </a:ext>
            </a:extLst>
          </p:cNvPr>
          <p:cNvSpPr txBox="1"/>
          <p:nvPr/>
        </p:nvSpPr>
        <p:spPr>
          <a:xfrm>
            <a:off x="30425" y="395294"/>
            <a:ext cx="122040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0" cap="small" spc="0" normalizeH="0" baseline="0" noProof="0">
                <a:ln>
                  <a:noFill/>
                </a:ln>
                <a:solidFill>
                  <a:srgbClr val="0B306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isultati per periodo contabile: III </a:t>
            </a:r>
            <a:r>
              <a:rPr kumimoji="0" lang="it-IT" sz="2400" b="1" i="0" u="none" strike="noStrike" kern="0" cap="small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P</a:t>
            </a:r>
            <a:r>
              <a:rPr kumimoji="0" lang="it-IT" sz="2400" b="1" i="0" u="none" strike="noStrike" kern="1200" cap="small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eriodo contabile (</a:t>
            </a:r>
            <a:r>
              <a:rPr kumimoji="0" lang="it-IT" sz="1800" b="1" i="0" u="none" strike="noStrike" kern="1200" cap="small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dal 01.07.2023 al 30.06.2024</a:t>
            </a:r>
            <a:r>
              <a:rPr kumimoji="0" lang="it-IT" sz="2400" b="1" i="0" u="none" strike="noStrike" kern="1200" cap="small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891303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4D1866-87DE-A60E-AC75-51798A01E8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414B7DC-3CFF-354B-7A03-D1EE13BFB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43842B-A32A-49BD-A497-95FC235F58CB}" type="slidenum">
              <a:rPr lang="it-IT" smtClean="0">
                <a:solidFill>
                  <a:srgbClr val="002776"/>
                </a:solidFill>
              </a:rPr>
              <a:pPr/>
              <a:t>7</a:t>
            </a:fld>
            <a:endParaRPr lang="it-IT">
              <a:solidFill>
                <a:srgbClr val="002776"/>
              </a:solidFill>
            </a:endParaRP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0D0778DD-96B9-3BBF-BE26-872D2C1FF42E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9" name="Sottotitolo 2">
            <a:extLst>
              <a:ext uri="{FF2B5EF4-FFF2-40B4-BE49-F238E27FC236}">
                <a16:creationId xmlns:a16="http://schemas.microsoft.com/office/drawing/2014/main" id="{0BD89DA3-2D4B-A024-5799-4B2B8E57F24C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5A4A704D-FDA3-3D7C-D9AD-F9118B06BE1D}"/>
              </a:ext>
            </a:extLst>
          </p:cNvPr>
          <p:cNvSpPr/>
          <p:nvPr/>
        </p:nvSpPr>
        <p:spPr>
          <a:xfrm>
            <a:off x="6334338" y="2205892"/>
            <a:ext cx="3706940" cy="3114936"/>
          </a:xfrm>
          <a:prstGeom prst="rect">
            <a:avLst/>
          </a:prstGeom>
          <a:noFill/>
          <a:ln>
            <a:solidFill>
              <a:srgbClr val="0027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4F969865-8B87-E855-A470-726562DAB3F9}"/>
              </a:ext>
            </a:extLst>
          </p:cNvPr>
          <p:cNvGrpSpPr/>
          <p:nvPr/>
        </p:nvGrpSpPr>
        <p:grpSpPr>
          <a:xfrm>
            <a:off x="6646922" y="2521369"/>
            <a:ext cx="3096476" cy="309696"/>
            <a:chOff x="6620287" y="2521369"/>
            <a:chExt cx="3096476" cy="309696"/>
          </a:xfrm>
        </p:grpSpPr>
        <p:sp>
          <p:nvSpPr>
            <p:cNvPr id="12" name="CasellaDiTesto 11">
              <a:extLst>
                <a:ext uri="{FF2B5EF4-FFF2-40B4-BE49-F238E27FC236}">
                  <a16:creationId xmlns:a16="http://schemas.microsoft.com/office/drawing/2014/main" id="{624621D8-EE56-A104-BFE9-C992275225E7}"/>
                </a:ext>
              </a:extLst>
            </p:cNvPr>
            <p:cNvSpPr txBox="1"/>
            <p:nvPr/>
          </p:nvSpPr>
          <p:spPr>
            <a:xfrm>
              <a:off x="7244701" y="2521369"/>
              <a:ext cx="666699" cy="309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+mj-lt"/>
                </a:rPr>
                <a:t>FSE+</a:t>
              </a:r>
            </a:p>
          </p:txBody>
        </p:sp>
        <p:sp>
          <p:nvSpPr>
            <p:cNvPr id="13" name="Rettangolo 12">
              <a:extLst>
                <a:ext uri="{FF2B5EF4-FFF2-40B4-BE49-F238E27FC236}">
                  <a16:creationId xmlns:a16="http://schemas.microsoft.com/office/drawing/2014/main" id="{29B7E196-EF9C-44C7-C748-E804E0749462}"/>
                </a:ext>
              </a:extLst>
            </p:cNvPr>
            <p:cNvSpPr/>
            <p:nvPr/>
          </p:nvSpPr>
          <p:spPr>
            <a:xfrm>
              <a:off x="6620287" y="2572772"/>
              <a:ext cx="524470" cy="206890"/>
            </a:xfrm>
            <a:prstGeom prst="rect">
              <a:avLst/>
            </a:prstGeom>
            <a:solidFill>
              <a:srgbClr val="00C0AE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4" name="Rettangolo 13">
              <a:extLst>
                <a:ext uri="{FF2B5EF4-FFF2-40B4-BE49-F238E27FC236}">
                  <a16:creationId xmlns:a16="http://schemas.microsoft.com/office/drawing/2014/main" id="{A28BD9BC-BF67-C5E2-8620-6EB910733E66}"/>
                </a:ext>
              </a:extLst>
            </p:cNvPr>
            <p:cNvSpPr/>
            <p:nvPr/>
          </p:nvSpPr>
          <p:spPr>
            <a:xfrm>
              <a:off x="9003713" y="2573708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rgbClr val="00338D"/>
                  </a:solidFill>
                  <a:latin typeface="Arial"/>
                </a:rPr>
                <a:t>7</a:t>
              </a:r>
            </a:p>
          </p:txBody>
        </p:sp>
      </p:grpSp>
      <p:grpSp>
        <p:nvGrpSpPr>
          <p:cNvPr id="6" name="Gruppo 5">
            <a:extLst>
              <a:ext uri="{FF2B5EF4-FFF2-40B4-BE49-F238E27FC236}">
                <a16:creationId xmlns:a16="http://schemas.microsoft.com/office/drawing/2014/main" id="{A93CFEE3-5738-875E-D0BB-4E4878CEE899}"/>
              </a:ext>
            </a:extLst>
          </p:cNvPr>
          <p:cNvGrpSpPr/>
          <p:nvPr/>
        </p:nvGrpSpPr>
        <p:grpSpPr>
          <a:xfrm>
            <a:off x="6646922" y="3071108"/>
            <a:ext cx="3096476" cy="309696"/>
            <a:chOff x="6620287" y="3057250"/>
            <a:chExt cx="3096476" cy="309696"/>
          </a:xfrm>
        </p:grpSpPr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D2D15DDB-C156-B39C-AA91-EA47D599ADBA}"/>
                </a:ext>
              </a:extLst>
            </p:cNvPr>
            <p:cNvSpPr txBox="1"/>
            <p:nvPr/>
          </p:nvSpPr>
          <p:spPr>
            <a:xfrm>
              <a:off x="7244701" y="3057250"/>
              <a:ext cx="666699" cy="309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FESR</a:t>
              </a:r>
            </a:p>
          </p:txBody>
        </p:sp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6B3BBDAF-31E0-4AA3-BF5C-E87CDAF762B8}"/>
                </a:ext>
              </a:extLst>
            </p:cNvPr>
            <p:cNvSpPr/>
            <p:nvPr/>
          </p:nvSpPr>
          <p:spPr>
            <a:xfrm>
              <a:off x="6620287" y="3108653"/>
              <a:ext cx="524470" cy="20689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7" name="Rettangolo 16">
              <a:extLst>
                <a:ext uri="{FF2B5EF4-FFF2-40B4-BE49-F238E27FC236}">
                  <a16:creationId xmlns:a16="http://schemas.microsoft.com/office/drawing/2014/main" id="{CA2F8E90-D9B8-5360-DA05-BC2C04C02625}"/>
                </a:ext>
              </a:extLst>
            </p:cNvPr>
            <p:cNvSpPr/>
            <p:nvPr/>
          </p:nvSpPr>
          <p:spPr>
            <a:xfrm>
              <a:off x="9003713" y="3109589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rgbClr val="00338D"/>
                  </a:solidFill>
                  <a:latin typeface="Arial"/>
                </a:rPr>
                <a:t>7</a:t>
              </a:r>
            </a:p>
          </p:txBody>
        </p:sp>
      </p:grp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8572E63C-4424-3053-AD40-580DDE1CEB45}"/>
              </a:ext>
            </a:extLst>
          </p:cNvPr>
          <p:cNvGrpSpPr/>
          <p:nvPr/>
        </p:nvGrpSpPr>
        <p:grpSpPr>
          <a:xfrm>
            <a:off x="6645777" y="4102541"/>
            <a:ext cx="3097621" cy="309696"/>
            <a:chOff x="6619142" y="4109360"/>
            <a:chExt cx="3097621" cy="309696"/>
          </a:xfrm>
        </p:grpSpPr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A12E482D-A8A0-FDA4-B07E-1BB2FF67DD79}"/>
                </a:ext>
              </a:extLst>
            </p:cNvPr>
            <p:cNvSpPr txBox="1"/>
            <p:nvPr/>
          </p:nvSpPr>
          <p:spPr>
            <a:xfrm>
              <a:off x="7244701" y="4109360"/>
              <a:ext cx="944800" cy="309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JTF</a:t>
              </a:r>
            </a:p>
          </p:txBody>
        </p:sp>
        <p:sp>
          <p:nvSpPr>
            <p:cNvPr id="29" name="Rettangolo 28">
              <a:extLst>
                <a:ext uri="{FF2B5EF4-FFF2-40B4-BE49-F238E27FC236}">
                  <a16:creationId xmlns:a16="http://schemas.microsoft.com/office/drawing/2014/main" id="{F728B63E-B3AA-22E0-C4B2-0E570C461764}"/>
                </a:ext>
              </a:extLst>
            </p:cNvPr>
            <p:cNvSpPr/>
            <p:nvPr/>
          </p:nvSpPr>
          <p:spPr>
            <a:xfrm>
              <a:off x="6619142" y="4160763"/>
              <a:ext cx="524470" cy="206890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0" name="Rettangolo 29">
              <a:extLst>
                <a:ext uri="{FF2B5EF4-FFF2-40B4-BE49-F238E27FC236}">
                  <a16:creationId xmlns:a16="http://schemas.microsoft.com/office/drawing/2014/main" id="{224C7B7B-11A6-DF75-CA5B-715670F40F6E}"/>
                </a:ext>
              </a:extLst>
            </p:cNvPr>
            <p:cNvSpPr/>
            <p:nvPr/>
          </p:nvSpPr>
          <p:spPr>
            <a:xfrm>
              <a:off x="9003713" y="4161699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rgbClr val="00338D"/>
                  </a:solidFill>
                  <a:latin typeface="Arial"/>
                </a:rPr>
                <a:t>0</a:t>
              </a:r>
            </a:p>
          </p:txBody>
        </p:sp>
      </p:grp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88BA7B02-4BF8-1A92-D842-A01C4145C562}"/>
              </a:ext>
            </a:extLst>
          </p:cNvPr>
          <p:cNvGrpSpPr/>
          <p:nvPr/>
        </p:nvGrpSpPr>
        <p:grpSpPr>
          <a:xfrm>
            <a:off x="6646922" y="4652280"/>
            <a:ext cx="3096476" cy="309696"/>
            <a:chOff x="6620287" y="4652280"/>
            <a:chExt cx="3096476" cy="309696"/>
          </a:xfrm>
        </p:grpSpPr>
        <p:sp>
          <p:nvSpPr>
            <p:cNvPr id="32" name="CasellaDiTesto 31">
              <a:extLst>
                <a:ext uri="{FF2B5EF4-FFF2-40B4-BE49-F238E27FC236}">
                  <a16:creationId xmlns:a16="http://schemas.microsoft.com/office/drawing/2014/main" id="{BB97B4EA-D15A-EB8B-6F03-28DC1EA365C6}"/>
                </a:ext>
              </a:extLst>
            </p:cNvPr>
            <p:cNvSpPr txBox="1"/>
            <p:nvPr/>
          </p:nvSpPr>
          <p:spPr>
            <a:xfrm>
              <a:off x="7244701" y="4652280"/>
              <a:ext cx="1036300" cy="309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FEAMPA</a:t>
              </a:r>
            </a:p>
          </p:txBody>
        </p:sp>
        <p:sp>
          <p:nvSpPr>
            <p:cNvPr id="33" name="Rettangolo 32">
              <a:extLst>
                <a:ext uri="{FF2B5EF4-FFF2-40B4-BE49-F238E27FC236}">
                  <a16:creationId xmlns:a16="http://schemas.microsoft.com/office/drawing/2014/main" id="{C576019F-8BB3-B149-CF1E-8229BBB42031}"/>
                </a:ext>
              </a:extLst>
            </p:cNvPr>
            <p:cNvSpPr/>
            <p:nvPr/>
          </p:nvSpPr>
          <p:spPr>
            <a:xfrm>
              <a:off x="6620287" y="4703683"/>
              <a:ext cx="524470" cy="2068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9" name="Rettangolo 48">
              <a:extLst>
                <a:ext uri="{FF2B5EF4-FFF2-40B4-BE49-F238E27FC236}">
                  <a16:creationId xmlns:a16="http://schemas.microsoft.com/office/drawing/2014/main" id="{B829041D-5A72-F6D8-9B44-3C49EA95F98E}"/>
                </a:ext>
              </a:extLst>
            </p:cNvPr>
            <p:cNvSpPr/>
            <p:nvPr/>
          </p:nvSpPr>
          <p:spPr>
            <a:xfrm>
              <a:off x="9003713" y="4704619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rgbClr val="00338D"/>
                  </a:solidFill>
                  <a:latin typeface="Arial"/>
                </a:rPr>
                <a:t>0</a:t>
              </a:r>
            </a:p>
          </p:txBody>
        </p:sp>
      </p:grp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31CC2DD4-4C14-8AA4-337F-689DE6FCBE24}"/>
              </a:ext>
            </a:extLst>
          </p:cNvPr>
          <p:cNvGrpSpPr/>
          <p:nvPr/>
        </p:nvGrpSpPr>
        <p:grpSpPr>
          <a:xfrm>
            <a:off x="6645777" y="3620847"/>
            <a:ext cx="3097621" cy="241651"/>
            <a:chOff x="6619142" y="3657808"/>
            <a:chExt cx="3097621" cy="241651"/>
          </a:xfrm>
        </p:grpSpPr>
        <p:sp>
          <p:nvSpPr>
            <p:cNvPr id="25" name="Rettangolo 24">
              <a:extLst>
                <a:ext uri="{FF2B5EF4-FFF2-40B4-BE49-F238E27FC236}">
                  <a16:creationId xmlns:a16="http://schemas.microsoft.com/office/drawing/2014/main" id="{415A789A-B338-62B6-0B44-0853588488D8}"/>
                </a:ext>
              </a:extLst>
            </p:cNvPr>
            <p:cNvSpPr/>
            <p:nvPr/>
          </p:nvSpPr>
          <p:spPr>
            <a:xfrm>
              <a:off x="6619142" y="3675188"/>
              <a:ext cx="524470" cy="206890"/>
            </a:xfrm>
            <a:prstGeom prst="rect">
              <a:avLst/>
            </a:prstGeom>
            <a:solidFill>
              <a:srgbClr val="FFC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>
                <a:defRPr/>
              </a:pPr>
              <a:endParaRPr lang="it-IT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6" name="CasellaDiTesto 25">
              <a:extLst>
                <a:ext uri="{FF2B5EF4-FFF2-40B4-BE49-F238E27FC236}">
                  <a16:creationId xmlns:a16="http://schemas.microsoft.com/office/drawing/2014/main" id="{F4EE6733-3E81-1EFD-6C9C-0D7F1F346D37}"/>
                </a:ext>
              </a:extLst>
            </p:cNvPr>
            <p:cNvSpPr txBox="1"/>
            <p:nvPr/>
          </p:nvSpPr>
          <p:spPr>
            <a:xfrm>
              <a:off x="7244701" y="3657808"/>
              <a:ext cx="1225522" cy="2416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it-IT" sz="1400">
                  <a:latin typeface="Arial" panose="020B0604020202020204" pitchFamily="34" charset="0"/>
                  <a:cs typeface="Arial" panose="020B0604020202020204" pitchFamily="34" charset="0"/>
                </a:rPr>
                <a:t>Plurifondo</a:t>
              </a:r>
            </a:p>
          </p:txBody>
        </p:sp>
        <p:sp>
          <p:nvSpPr>
            <p:cNvPr id="27" name="Rettangolo 26">
              <a:extLst>
                <a:ext uri="{FF2B5EF4-FFF2-40B4-BE49-F238E27FC236}">
                  <a16:creationId xmlns:a16="http://schemas.microsoft.com/office/drawing/2014/main" id="{FD77CB24-5FBC-50AE-BA2A-47FD386D8CCE}"/>
                </a:ext>
              </a:extLst>
            </p:cNvPr>
            <p:cNvSpPr/>
            <p:nvPr/>
          </p:nvSpPr>
          <p:spPr>
            <a:xfrm>
              <a:off x="9003713" y="3676124"/>
              <a:ext cx="713050" cy="2050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>
                <a:defRPr/>
              </a:pPr>
              <a:r>
                <a:rPr lang="it-IT" sz="1500" b="1" i="1">
                  <a:solidFill>
                    <a:srgbClr val="00338D"/>
                  </a:solidFill>
                  <a:latin typeface="Arial"/>
                </a:rPr>
                <a:t>2</a:t>
              </a:r>
            </a:p>
          </p:txBody>
        </p:sp>
      </p:grpSp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E18F7684-2C1D-0F0B-A8C9-AAE6673FEF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2210478"/>
              </p:ext>
            </p:extLst>
          </p:nvPr>
        </p:nvGraphicFramePr>
        <p:xfrm>
          <a:off x="86015" y="1676507"/>
          <a:ext cx="6243378" cy="3773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CasellaDiTesto 2">
            <a:extLst>
              <a:ext uri="{FF2B5EF4-FFF2-40B4-BE49-F238E27FC236}">
                <a16:creationId xmlns:a16="http://schemas.microsoft.com/office/drawing/2014/main" id="{3B4A3F59-8E5A-3614-B72C-99980FE62204}"/>
              </a:ext>
            </a:extLst>
          </p:cNvPr>
          <p:cNvSpPr txBox="1"/>
          <p:nvPr/>
        </p:nvSpPr>
        <p:spPr>
          <a:xfrm>
            <a:off x="-10861" y="385107"/>
            <a:ext cx="123429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b="1" kern="0" cap="small">
                <a:solidFill>
                  <a:srgbClr val="0B3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ultati per periodo contabile: IV </a:t>
            </a:r>
            <a:r>
              <a:rPr lang="it-IT" sz="2400" b="1" kern="0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P</a:t>
            </a:r>
            <a:r>
              <a:rPr lang="it-IT" sz="2400" b="1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eriodo contabile (</a:t>
            </a:r>
            <a:r>
              <a:rPr lang="it-IT" b="1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dal 01.07.2024 al 30.06.2025</a:t>
            </a:r>
            <a:r>
              <a:rPr lang="it-IT" sz="2400" b="1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)</a:t>
            </a:r>
          </a:p>
          <a:p>
            <a:endParaRPr lang="it-IT" sz="3600" b="1" kern="0" cap="small">
              <a:solidFill>
                <a:srgbClr val="0B3066"/>
              </a:solidFill>
              <a:cs typeface="Arial" panose="020B0604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2BF4F4EE-F885-D741-F680-9CD58E78F543}"/>
              </a:ext>
            </a:extLst>
          </p:cNvPr>
          <p:cNvSpPr txBox="1"/>
          <p:nvPr/>
        </p:nvSpPr>
        <p:spPr>
          <a:xfrm>
            <a:off x="6459823" y="1774598"/>
            <a:ext cx="3494955" cy="356142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400" b="1" i="1">
                <a:latin typeface="Arial"/>
              </a:rPr>
              <a:t>Verifiche di gestione svolte sulla base di un’analisi del rischio per Fondo</a:t>
            </a:r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F46647AE-D963-B7E7-142F-8670535435E4}"/>
              </a:ext>
            </a:extLst>
          </p:cNvPr>
          <p:cNvSpPr txBox="1"/>
          <p:nvPr/>
        </p:nvSpPr>
        <p:spPr>
          <a:xfrm>
            <a:off x="10678816" y="4239934"/>
            <a:ext cx="1091630" cy="80510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9CE42492-5497-8FB8-A609-214BA15CE340}"/>
              </a:ext>
            </a:extLst>
          </p:cNvPr>
          <p:cNvSpPr txBox="1"/>
          <p:nvPr/>
        </p:nvSpPr>
        <p:spPr>
          <a:xfrm>
            <a:off x="10339207" y="2613204"/>
            <a:ext cx="1764000" cy="24721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600" b="1" i="1">
                <a:latin typeface="Arial" panose="020B0604020202020204" pitchFamily="34" charset="0"/>
                <a:cs typeface="Arial" panose="020B0604020202020204" pitchFamily="34" charset="0"/>
              </a:rPr>
              <a:t>Totali Programmi che hanno svolto verifiche di gestione su base rischio</a:t>
            </a:r>
          </a:p>
          <a:p>
            <a:pPr algn="ctr">
              <a:spcAft>
                <a:spcPts val="600"/>
              </a:spcAft>
              <a:defRPr/>
            </a:pPr>
            <a:endParaRPr lang="it-IT" sz="2000" b="1" i="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864561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06713E-BBE0-2900-B1B8-E9BA32811F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E52B43A9-1ED2-5B49-DC98-6A7EFE1B8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43842B-A32A-49BD-A497-95FC235F58CB}" type="slidenum">
              <a:rPr lang="it-IT" smtClean="0">
                <a:solidFill>
                  <a:srgbClr val="002776"/>
                </a:solidFill>
              </a:rPr>
              <a:pPr/>
              <a:t>8</a:t>
            </a:fld>
            <a:endParaRPr lang="it-IT">
              <a:solidFill>
                <a:srgbClr val="002776"/>
              </a:solidFill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D2A04F9B-C0E6-1C59-96BD-7B0ECB12FF45}"/>
              </a:ext>
            </a:extLst>
          </p:cNvPr>
          <p:cNvSpPr/>
          <p:nvPr/>
        </p:nvSpPr>
        <p:spPr>
          <a:xfrm>
            <a:off x="9964" y="1622547"/>
            <a:ext cx="12182036" cy="40012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200">
              <a:solidFill>
                <a:schemeClr val="tx1"/>
              </a:solidFill>
              <a:latin typeface="Arial"/>
            </a:endParaRPr>
          </a:p>
          <a:p>
            <a:pPr>
              <a:defRPr/>
            </a:pPr>
            <a:endParaRPr lang="it-IT" sz="1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4FAB62D1-FDC8-F79C-24D8-D4C81CC3ABD9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19" name="Sottotitolo 2">
            <a:extLst>
              <a:ext uri="{FF2B5EF4-FFF2-40B4-BE49-F238E27FC236}">
                <a16:creationId xmlns:a16="http://schemas.microsoft.com/office/drawing/2014/main" id="{DB0E51BA-51C0-3ED5-4082-7CE60B0D5188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8A72E347-A63A-1D3F-AAD1-92E0EF354C68}"/>
              </a:ext>
            </a:extLst>
          </p:cNvPr>
          <p:cNvSpPr/>
          <p:nvPr/>
        </p:nvSpPr>
        <p:spPr>
          <a:xfrm>
            <a:off x="6399584" y="2111639"/>
            <a:ext cx="3706940" cy="31149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8A5CED71-FE41-BA5E-76FD-844C2D260A5F}"/>
              </a:ext>
            </a:extLst>
          </p:cNvPr>
          <p:cNvSpPr txBox="1"/>
          <p:nvPr/>
        </p:nvSpPr>
        <p:spPr>
          <a:xfrm>
            <a:off x="7203414" y="2427116"/>
            <a:ext cx="666699" cy="30969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>
                <a:latin typeface="Arial" panose="020B0604020202020204" pitchFamily="34" charset="0"/>
                <a:cs typeface="Arial" panose="020B0604020202020204" pitchFamily="34" charset="0"/>
              </a:rPr>
              <a:t>FSE+</a:t>
            </a: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3CF4FE4D-5974-A967-09EF-48EE2CE19057}"/>
              </a:ext>
            </a:extLst>
          </p:cNvPr>
          <p:cNvSpPr/>
          <p:nvPr/>
        </p:nvSpPr>
        <p:spPr>
          <a:xfrm>
            <a:off x="6631694" y="2478519"/>
            <a:ext cx="524470" cy="206890"/>
          </a:xfrm>
          <a:prstGeom prst="rect">
            <a:avLst/>
          </a:prstGeom>
          <a:solidFill>
            <a:srgbClr val="00C0A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330160E1-E231-AF5A-F10E-CD12921BD1AE}"/>
              </a:ext>
            </a:extLst>
          </p:cNvPr>
          <p:cNvSpPr/>
          <p:nvPr/>
        </p:nvSpPr>
        <p:spPr>
          <a:xfrm>
            <a:off x="9015693" y="2479455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it-IT" sz="1500" b="1" i="1">
                <a:solidFill>
                  <a:srgbClr val="00338D"/>
                </a:solidFill>
                <a:latin typeface="Arial"/>
              </a:rPr>
              <a:t>10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D5D597FD-5D41-166A-D7E1-897D9E742497}"/>
              </a:ext>
            </a:extLst>
          </p:cNvPr>
          <p:cNvSpPr txBox="1"/>
          <p:nvPr/>
        </p:nvSpPr>
        <p:spPr>
          <a:xfrm>
            <a:off x="7203414" y="2976855"/>
            <a:ext cx="666699" cy="30969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>
                <a:latin typeface="Arial" panose="020B0604020202020204" pitchFamily="34" charset="0"/>
                <a:cs typeface="Arial" panose="020B0604020202020204" pitchFamily="34" charset="0"/>
              </a:rPr>
              <a:t>FESR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65449B0E-C001-9505-A3DD-C17F821D6FB8}"/>
              </a:ext>
            </a:extLst>
          </p:cNvPr>
          <p:cNvSpPr/>
          <p:nvPr/>
        </p:nvSpPr>
        <p:spPr>
          <a:xfrm>
            <a:off x="6631694" y="3028258"/>
            <a:ext cx="524470" cy="20689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260DBEDB-E741-A6E0-A4FB-38E09FF046B4}"/>
              </a:ext>
            </a:extLst>
          </p:cNvPr>
          <p:cNvSpPr/>
          <p:nvPr/>
        </p:nvSpPr>
        <p:spPr>
          <a:xfrm>
            <a:off x="9015693" y="3029194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it-IT" sz="1500" b="1" i="1">
                <a:solidFill>
                  <a:srgbClr val="00338D"/>
                </a:solidFill>
                <a:latin typeface="Arial"/>
              </a:rPr>
              <a:t>12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3BE4E4A4-001A-A5E4-8325-DFC970BF25C0}"/>
              </a:ext>
            </a:extLst>
          </p:cNvPr>
          <p:cNvSpPr txBox="1"/>
          <p:nvPr/>
        </p:nvSpPr>
        <p:spPr>
          <a:xfrm>
            <a:off x="7203414" y="4008288"/>
            <a:ext cx="944800" cy="30969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>
                <a:latin typeface="Arial" panose="020B0604020202020204" pitchFamily="34" charset="0"/>
                <a:cs typeface="Arial" panose="020B0604020202020204" pitchFamily="34" charset="0"/>
              </a:rPr>
              <a:t>JTF</a:t>
            </a:r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37B09DC4-5110-BACE-3C6C-56F9F1855A3A}"/>
              </a:ext>
            </a:extLst>
          </p:cNvPr>
          <p:cNvSpPr/>
          <p:nvPr/>
        </p:nvSpPr>
        <p:spPr>
          <a:xfrm>
            <a:off x="6631694" y="4059691"/>
            <a:ext cx="524470" cy="20689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353011C2-D10C-A1B0-9F19-D5B998503BA3}"/>
              </a:ext>
            </a:extLst>
          </p:cNvPr>
          <p:cNvSpPr/>
          <p:nvPr/>
        </p:nvSpPr>
        <p:spPr>
          <a:xfrm>
            <a:off x="9015693" y="4060627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it-IT" sz="1500" b="1" i="1">
                <a:solidFill>
                  <a:srgbClr val="00338D"/>
                </a:solidFill>
                <a:latin typeface="Arial"/>
              </a:rPr>
              <a:t>1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3F6E42FB-72F8-9B7A-1006-CA85ED0A834F}"/>
              </a:ext>
            </a:extLst>
          </p:cNvPr>
          <p:cNvSpPr txBox="1"/>
          <p:nvPr/>
        </p:nvSpPr>
        <p:spPr>
          <a:xfrm>
            <a:off x="7203414" y="4558027"/>
            <a:ext cx="1036300" cy="30969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>
                <a:latin typeface="Arial" panose="020B0604020202020204" pitchFamily="34" charset="0"/>
                <a:cs typeface="Arial" panose="020B0604020202020204" pitchFamily="34" charset="0"/>
              </a:rPr>
              <a:t>FEAMPA</a:t>
            </a:r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733DB343-7F86-7803-B889-BA77089CFFC1}"/>
              </a:ext>
            </a:extLst>
          </p:cNvPr>
          <p:cNvSpPr/>
          <p:nvPr/>
        </p:nvSpPr>
        <p:spPr>
          <a:xfrm>
            <a:off x="6631694" y="4609430"/>
            <a:ext cx="524470" cy="2068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9" name="Rettangolo 48">
            <a:extLst>
              <a:ext uri="{FF2B5EF4-FFF2-40B4-BE49-F238E27FC236}">
                <a16:creationId xmlns:a16="http://schemas.microsoft.com/office/drawing/2014/main" id="{648CDD1F-343B-C99C-6D18-11B794EF0765}"/>
              </a:ext>
            </a:extLst>
          </p:cNvPr>
          <p:cNvSpPr/>
          <p:nvPr/>
        </p:nvSpPr>
        <p:spPr>
          <a:xfrm>
            <a:off x="9015693" y="4619659"/>
            <a:ext cx="713050" cy="18643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it-IT" sz="1500" b="1" i="1">
                <a:solidFill>
                  <a:srgbClr val="00338D"/>
                </a:solidFill>
                <a:latin typeface="Arial"/>
              </a:rPr>
              <a:t>0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FA51966F-CD35-DFBE-8281-0124911714DE}"/>
              </a:ext>
            </a:extLst>
          </p:cNvPr>
          <p:cNvSpPr/>
          <p:nvPr/>
        </p:nvSpPr>
        <p:spPr>
          <a:xfrm>
            <a:off x="6631694" y="3543974"/>
            <a:ext cx="524470" cy="206890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>
              <a:defRPr/>
            </a:pPr>
            <a:endParaRPr lang="it-IT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2E90ACC-BCE8-A593-B2C1-8BD4F4673397}"/>
              </a:ext>
            </a:extLst>
          </p:cNvPr>
          <p:cNvSpPr txBox="1"/>
          <p:nvPr/>
        </p:nvSpPr>
        <p:spPr>
          <a:xfrm>
            <a:off x="7203414" y="3526594"/>
            <a:ext cx="1225522" cy="241651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>
                <a:latin typeface="Arial" panose="020B0604020202020204" pitchFamily="34" charset="0"/>
                <a:cs typeface="Arial" panose="020B0604020202020204" pitchFamily="34" charset="0"/>
              </a:rPr>
              <a:t>Plurifondo</a:t>
            </a: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A1DAFD9A-EE95-0AF7-8C84-7A26AB72FBBD}"/>
              </a:ext>
            </a:extLst>
          </p:cNvPr>
          <p:cNvSpPr/>
          <p:nvPr/>
        </p:nvSpPr>
        <p:spPr>
          <a:xfrm>
            <a:off x="9015693" y="3544910"/>
            <a:ext cx="713050" cy="205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it-IT" sz="1500" b="1" i="1">
                <a:solidFill>
                  <a:srgbClr val="00338D"/>
                </a:solidFill>
                <a:latin typeface="Arial"/>
              </a:rPr>
              <a:t>6</a:t>
            </a:r>
          </a:p>
        </p:txBody>
      </p:sp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EB9D0C3A-8E2D-28CA-B7AC-2492553023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5175076"/>
              </p:ext>
            </p:extLst>
          </p:nvPr>
        </p:nvGraphicFramePr>
        <p:xfrm>
          <a:off x="42758" y="1675790"/>
          <a:ext cx="6331409" cy="3670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asellaDiTesto 2">
            <a:extLst>
              <a:ext uri="{FF2B5EF4-FFF2-40B4-BE49-F238E27FC236}">
                <a16:creationId xmlns:a16="http://schemas.microsoft.com/office/drawing/2014/main" id="{1E1EBD76-52DE-1D2E-7F48-C3A1B34058A9}"/>
              </a:ext>
            </a:extLst>
          </p:cNvPr>
          <p:cNvSpPr txBox="1"/>
          <p:nvPr/>
        </p:nvSpPr>
        <p:spPr>
          <a:xfrm>
            <a:off x="-10861" y="394632"/>
            <a:ext cx="12192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b="1" kern="0" cap="small">
                <a:solidFill>
                  <a:srgbClr val="0B3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ultati per periodo contabile: V </a:t>
            </a:r>
            <a:r>
              <a:rPr lang="it-IT" sz="2400" b="1" kern="0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P</a:t>
            </a:r>
            <a:r>
              <a:rPr lang="it-IT" sz="2400" b="1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eriodo contabile (</a:t>
            </a:r>
            <a:r>
              <a:rPr lang="it-IT" b="1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dal 01.07.2025 al 30.06.2026</a:t>
            </a:r>
            <a:r>
              <a:rPr lang="it-IT" sz="2400" b="1" cap="small">
                <a:solidFill>
                  <a:srgbClr val="002776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)</a:t>
            </a:r>
          </a:p>
          <a:p>
            <a:endParaRPr lang="it-IT" sz="3600" b="1" kern="0" cap="small">
              <a:solidFill>
                <a:srgbClr val="0B3066"/>
              </a:solidFill>
              <a:cs typeface="Arial" panose="020B0604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BAE7336E-7BD5-1FBC-C7A8-63087133D6D7}"/>
              </a:ext>
            </a:extLst>
          </p:cNvPr>
          <p:cNvSpPr txBox="1"/>
          <p:nvPr/>
        </p:nvSpPr>
        <p:spPr>
          <a:xfrm>
            <a:off x="6513089" y="1681141"/>
            <a:ext cx="3494955" cy="356142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400" b="1" i="1">
                <a:latin typeface="Arial"/>
              </a:rPr>
              <a:t>Verifiche di gestione svolte sulla base di un’analisi del rischio per Fondo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075FAA0D-2E5F-CAC4-F021-114F41E231E0}"/>
              </a:ext>
            </a:extLst>
          </p:cNvPr>
          <p:cNvSpPr txBox="1"/>
          <p:nvPr/>
        </p:nvSpPr>
        <p:spPr>
          <a:xfrm>
            <a:off x="10678816" y="4239934"/>
            <a:ext cx="1091630" cy="80510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9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5E93C377-0E2F-FEAD-94AB-CBA5E9095016}"/>
              </a:ext>
            </a:extLst>
          </p:cNvPr>
          <p:cNvSpPr txBox="1"/>
          <p:nvPr/>
        </p:nvSpPr>
        <p:spPr>
          <a:xfrm>
            <a:off x="10339207" y="2613204"/>
            <a:ext cx="1764000" cy="24721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600" b="1" i="1">
                <a:latin typeface="Arial" panose="020B0604020202020204" pitchFamily="34" charset="0"/>
                <a:cs typeface="Arial" panose="020B0604020202020204" pitchFamily="34" charset="0"/>
              </a:rPr>
              <a:t>Totali Programmi che hanno svolto verifiche di gestione su base rischio</a:t>
            </a:r>
          </a:p>
          <a:p>
            <a:pPr algn="ctr">
              <a:spcAft>
                <a:spcPts val="600"/>
              </a:spcAft>
              <a:defRPr/>
            </a:pPr>
            <a:endParaRPr lang="it-IT" sz="2000" b="1" i="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833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AC954-83EE-C4D0-FA22-FA7C846166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FA42F1B-1DBA-B2E7-0B30-0BC769976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0851" y="6608764"/>
            <a:ext cx="3786716" cy="17938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42B-A32A-49BD-A497-95FC235F58CB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Tahoma" charset="0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Tahoma" charset="0"/>
              <a:ea typeface="ＭＳ Ｐゴシック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843C7FB-E800-2E6F-02C9-4F91E25EB85E}"/>
              </a:ext>
            </a:extLst>
          </p:cNvPr>
          <p:cNvSpPr txBox="1">
            <a:spLocks/>
          </p:cNvSpPr>
          <p:nvPr/>
        </p:nvSpPr>
        <p:spPr>
          <a:xfrm>
            <a:off x="462903" y="393797"/>
            <a:ext cx="11394664" cy="53340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0" cap="small" spc="0" normalizeH="0" baseline="0" noProof="0">
                <a:ln>
                  <a:noFill/>
                </a:ln>
                <a:solidFill>
                  <a:srgbClr val="0B3066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dozione delle metodologie di analisi e valutazione del rischio</a:t>
            </a:r>
            <a:endParaRPr kumimoji="0" lang="it-IT" sz="2800" b="1" i="0" u="none" strike="noStrike" kern="0" cap="none" spc="0" normalizeH="0" baseline="0" noProof="0">
              <a:ln>
                <a:noFill/>
              </a:ln>
              <a:solidFill>
                <a:srgbClr val="0B3066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" name="Sottotitolo 2">
            <a:extLst>
              <a:ext uri="{FF2B5EF4-FFF2-40B4-BE49-F238E27FC236}">
                <a16:creationId xmlns:a16="http://schemas.microsoft.com/office/drawing/2014/main" id="{1B053BE8-1F10-BB83-5100-16D20BA49138}"/>
              </a:ext>
            </a:extLst>
          </p:cNvPr>
          <p:cNvSpPr txBox="1">
            <a:spLocks/>
          </p:cNvSpPr>
          <p:nvPr/>
        </p:nvSpPr>
        <p:spPr>
          <a:xfrm>
            <a:off x="9622855" y="6188816"/>
            <a:ext cx="3383283" cy="3950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rgbClr val="0B3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1000" b="1" kern="0">
                <a:latin typeface="Arial" panose="020B0604020202020204" pitchFamily="34" charset="0"/>
                <a:cs typeface="Arial" panose="020B0604020202020204" pitchFamily="34" charset="0"/>
              </a:rPr>
              <a:t>Incontro annuale Autorità di Audit</a:t>
            </a:r>
            <a:endParaRPr lang="it-IT" sz="1000" ker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00" kern="0">
                <a:latin typeface="Arial" panose="020B0604020202020204" pitchFamily="34" charset="0"/>
                <a:cs typeface="Arial" panose="020B0604020202020204" pitchFamily="34" charset="0"/>
              </a:rPr>
              <a:t>Merano, 20 maggio 2026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AC22089A-99C6-8A0E-652B-7EFFFFB5F98D}"/>
              </a:ext>
            </a:extLst>
          </p:cNvPr>
          <p:cNvSpPr/>
          <p:nvPr/>
        </p:nvSpPr>
        <p:spPr bwMode="auto">
          <a:xfrm>
            <a:off x="0" y="0"/>
            <a:ext cx="12192000" cy="39028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it-IT" sz="1600">
                <a:solidFill>
                  <a:schemeClr val="bg1"/>
                </a:solidFill>
              </a:rPr>
              <a:t>La valutazione del rischio nelle verifiche di gestione (2021–2027)</a:t>
            </a:r>
            <a:endParaRPr lang="it-IT" sz="1600" i="1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9" name="Elaborazione alternativa 8">
            <a:extLst>
              <a:ext uri="{FF2B5EF4-FFF2-40B4-BE49-F238E27FC236}">
                <a16:creationId xmlns:a16="http://schemas.microsoft.com/office/drawing/2014/main" id="{B5251CEF-3A25-70C4-B42C-5769993329D8}"/>
              </a:ext>
            </a:extLst>
          </p:cNvPr>
          <p:cNvSpPr/>
          <p:nvPr/>
        </p:nvSpPr>
        <p:spPr>
          <a:xfrm>
            <a:off x="350515" y="864031"/>
            <a:ext cx="11155395" cy="672282"/>
          </a:xfrm>
          <a:prstGeom prst="flowChartAlternateProcess">
            <a:avLst/>
          </a:prstGeom>
          <a:solidFill>
            <a:srgbClr val="D9E6FF">
              <a:alpha val="43137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FD6F9FB3-AD19-F532-E01E-49DE82C1DBD3}"/>
              </a:ext>
            </a:extLst>
          </p:cNvPr>
          <p:cNvSpPr/>
          <p:nvPr/>
        </p:nvSpPr>
        <p:spPr>
          <a:xfrm>
            <a:off x="350514" y="885170"/>
            <a:ext cx="1924833" cy="641191"/>
          </a:xfrm>
          <a:prstGeom prst="rect">
            <a:avLst/>
          </a:prstGeom>
          <a:solidFill>
            <a:srgbClr val="27348A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3016CF06-14D7-FA2F-7D75-20A511450F72}"/>
              </a:ext>
            </a:extLst>
          </p:cNvPr>
          <p:cNvSpPr txBox="1"/>
          <p:nvPr/>
        </p:nvSpPr>
        <p:spPr>
          <a:xfrm>
            <a:off x="350514" y="873155"/>
            <a:ext cx="1789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T. 74, par. 2 </a:t>
            </a:r>
          </a:p>
          <a:p>
            <a:pPr algn="ctr"/>
            <a:r>
              <a:rPr lang="it-IT" sz="1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. (UE)</a:t>
            </a:r>
          </a:p>
          <a:p>
            <a:pPr algn="ctr"/>
            <a:r>
              <a:rPr lang="it-IT" sz="1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1/1060</a:t>
            </a:r>
          </a:p>
        </p:txBody>
      </p:sp>
      <p:sp>
        <p:nvSpPr>
          <p:cNvPr id="12" name="Isosceles Triangle 6">
            <a:extLst>
              <a:ext uri="{FF2B5EF4-FFF2-40B4-BE49-F238E27FC236}">
                <a16:creationId xmlns:a16="http://schemas.microsoft.com/office/drawing/2014/main" id="{BDFA9204-E10E-F222-863F-90B3BD3CD90B}"/>
              </a:ext>
            </a:extLst>
          </p:cNvPr>
          <p:cNvSpPr>
            <a:spLocks noChangeAspect="1"/>
          </p:cNvSpPr>
          <p:nvPr/>
        </p:nvSpPr>
        <p:spPr>
          <a:xfrm rot="5400000">
            <a:off x="2303546" y="1076500"/>
            <a:ext cx="234498" cy="293930"/>
          </a:xfrm>
          <a:prstGeom prst="triangle">
            <a:avLst/>
          </a:prstGeom>
          <a:solidFill>
            <a:srgbClr val="27348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A9E0301E-8FAE-9F78-EBEC-045C8B6FE2CC}"/>
              </a:ext>
            </a:extLst>
          </p:cNvPr>
          <p:cNvSpPr txBox="1"/>
          <p:nvPr/>
        </p:nvSpPr>
        <p:spPr>
          <a:xfrm>
            <a:off x="2680148" y="887228"/>
            <a:ext cx="85344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 i="1">
                <a:latin typeface="Arial" panose="020B0604020202020204" pitchFamily="34" charset="0"/>
                <a:cs typeface="Arial" panose="020B0604020202020204" pitchFamily="34" charset="0"/>
              </a:rPr>
              <a:t>Le verifiche di gestione di cui al paragrafo 1, primo comma, la lettera a), sono basate sulla </a:t>
            </a:r>
            <a:r>
              <a:rPr lang="it-IT" sz="1600" b="1" i="1">
                <a:latin typeface="Arial" panose="020B0604020202020204" pitchFamily="34" charset="0"/>
                <a:cs typeface="Arial" panose="020B0604020202020204" pitchFamily="34" charset="0"/>
              </a:rPr>
              <a:t>valutazione dei rischi </a:t>
            </a:r>
            <a:r>
              <a:rPr lang="it-IT" sz="1600" i="1">
                <a:latin typeface="Arial" panose="020B0604020202020204" pitchFamily="34" charset="0"/>
                <a:cs typeface="Arial" panose="020B0604020202020204" pitchFamily="34" charset="0"/>
              </a:rPr>
              <a:t>e proporzionate </a:t>
            </a:r>
            <a:r>
              <a:rPr lang="it-IT" sz="1600" b="1" i="1" u="sng">
                <a:latin typeface="Arial" panose="020B0604020202020204" pitchFamily="34" charset="0"/>
                <a:cs typeface="Arial" panose="020B0604020202020204" pitchFamily="34" charset="0"/>
              </a:rPr>
              <a:t>ai rischi individuati ex ante e per iscritto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1C3433-DE41-18CF-6330-130240E255B5}"/>
              </a:ext>
            </a:extLst>
          </p:cNvPr>
          <p:cNvSpPr txBox="1"/>
          <p:nvPr/>
        </p:nvSpPr>
        <p:spPr>
          <a:xfrm>
            <a:off x="8038689" y="2811810"/>
            <a:ext cx="3786716" cy="3015967"/>
          </a:xfrm>
          <a:prstGeom prst="rect">
            <a:avLst/>
          </a:prstGeom>
          <a:solidFill>
            <a:srgbClr val="FFF2C1"/>
          </a:solidFill>
          <a:ln w="19050">
            <a:solidFill>
              <a:srgbClr val="FFCC05"/>
            </a:solidFill>
            <a:prstDash val="sysDash"/>
          </a:ln>
        </p:spPr>
        <p:txBody>
          <a:bodyPr wrap="square" rtlCol="0">
            <a:no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kern="0">
                <a:latin typeface="Arial" panose="020B0604020202020204" pitchFamily="34" charset="0"/>
                <a:cs typeface="Arial" panose="020B0604020202020204" pitchFamily="34" charset="0"/>
              </a:rPr>
              <a:t>Nella maggior parte dei casi, le Autorità di Gestione non hanno adottato un documento metodologico autonomo dedicato esclusivamente alla valutazione del rischio.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 metodologia è infatti generalmente incorporata all’interno del sistema documentale già esistente, risultando </a:t>
            </a: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legata al Manuale delle procedure, al Manuale dei controlli o alla Descrizione del Sistema di Gestione e Controllo (Si.Ge.Co.)</a:t>
            </a:r>
            <a:r>
              <a:rPr kumimoji="0" lang="it-IT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0F9A5A8C-D3E6-AAA0-D62A-0993AC1A782F}"/>
              </a:ext>
            </a:extLst>
          </p:cNvPr>
          <p:cNvSpPr txBox="1"/>
          <p:nvPr/>
        </p:nvSpPr>
        <p:spPr>
          <a:xfrm>
            <a:off x="391583" y="2731628"/>
            <a:ext cx="7380817" cy="1569660"/>
          </a:xfrm>
          <a:prstGeom prst="rect">
            <a:avLst/>
          </a:prstGeom>
          <a:noFill/>
          <a:ln w="28575">
            <a:solidFill>
              <a:srgbClr val="C00000"/>
            </a:solidFill>
            <a:prstDash val="sysDot"/>
          </a:ln>
        </p:spPr>
        <p:txBody>
          <a:bodyPr wrap="square" rtlCol="0">
            <a:spAutoFit/>
          </a:bodyPr>
          <a:lstStyle>
            <a:defPPr>
              <a:defRPr lang="it-IT"/>
            </a:defPPr>
            <a:lvl1pPr algn="just">
              <a:defRPr sz="160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In alcuni Programmi </a:t>
            </a:r>
            <a:r>
              <a:rPr lang="it-IT" b="1">
                <a:solidFill>
                  <a:srgbClr val="C00000"/>
                </a:solidFill>
              </a:rPr>
              <a:t>la metodologia non risulta comunque ancora pienamente adottata</a:t>
            </a:r>
            <a:r>
              <a:rPr lang="it-IT"/>
              <a:t>, principalmente p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/>
              <a:t>metodologia ancora in fase di </a:t>
            </a:r>
            <a:r>
              <a:rPr lang="it-IT" i="1"/>
              <a:t>testing</a:t>
            </a:r>
            <a:r>
              <a:rPr lang="it-IT"/>
              <a:t> o consolidamento ai fini dell’adozione form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/>
              <a:t>processo di valutazione del rischio non ancora completa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/>
              <a:t>necessità di affinare la metodologia e calibrare i fattori di rischio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A6EC2C70-FC9C-D351-9DE7-71CD7B4A1600}"/>
              </a:ext>
            </a:extLst>
          </p:cNvPr>
          <p:cNvSpPr txBox="1"/>
          <p:nvPr/>
        </p:nvSpPr>
        <p:spPr>
          <a:xfrm>
            <a:off x="391583" y="4615613"/>
            <a:ext cx="7380817" cy="1323439"/>
          </a:xfrm>
          <a:prstGeom prst="rect">
            <a:avLst/>
          </a:prstGeom>
          <a:noFill/>
          <a:ln w="28575">
            <a:solidFill>
              <a:srgbClr val="C00000"/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just"/>
            <a:r>
              <a:rPr lang="it-IT" sz="160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alcuni Programmi vengono condotti </a:t>
            </a:r>
            <a:r>
              <a:rPr lang="it-IT" sz="16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li al 100%</a:t>
            </a:r>
            <a:r>
              <a:rPr lang="it-IT" sz="160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il numero limitato di operazioni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via prudenziale, nelle prime annualità di applicazione della metodologi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iché sulla base di analisi del rischio sono emersi tassi di errore o rideterminazione della spesa superiori al 2%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48EAF247-EA1C-B2CE-2278-6D3CC8128C1F}"/>
              </a:ext>
            </a:extLst>
          </p:cNvPr>
          <p:cNvSpPr txBox="1"/>
          <p:nvPr/>
        </p:nvSpPr>
        <p:spPr>
          <a:xfrm>
            <a:off x="369564" y="1688286"/>
            <a:ext cx="11458810" cy="830997"/>
          </a:xfrm>
          <a:prstGeom prst="rect">
            <a:avLst/>
          </a:prstGeom>
          <a:noFill/>
          <a:ln w="28575">
            <a:solidFill>
              <a:srgbClr val="C00000"/>
            </a:solidFill>
            <a:prstDash val="sysDot"/>
          </a:ln>
        </p:spPr>
        <p:txBody>
          <a:bodyPr wrap="square" rtlCol="0">
            <a:spAutoFit/>
          </a:bodyPr>
          <a:lstStyle>
            <a:defPPr>
              <a:defRPr lang="it-IT"/>
            </a:defPPr>
            <a:lvl1pPr algn="just">
              <a:defRPr sz="160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ono state analizzate le metodologie di 31 Programmi pari al 60% circa del totale dei Programmi dello Stato membro, di cui 12 FESR, 13 FSE+, 5 Plurifondo e 1 JTF.</a:t>
            </a:r>
          </a:p>
          <a:p>
            <a:r>
              <a:rPr lang="it-IT"/>
              <a:t>L’analisi evidenzia un </a:t>
            </a:r>
            <a:r>
              <a:rPr lang="it-IT" b="1"/>
              <a:t>progressivo consolidamento dell’approccio basato sulla valutazione del rischio</a:t>
            </a:r>
            <a:r>
              <a:rPr lang="it-IT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552720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Presentazione vuota">
  <a:themeElements>
    <a:clrScheme name="DT">
      <a:dk1>
        <a:srgbClr val="002776"/>
      </a:dk1>
      <a:lt1>
        <a:srgbClr val="FFFFFF"/>
      </a:lt1>
      <a:dk2>
        <a:srgbClr val="FFFFFF"/>
      </a:dk2>
      <a:lt2>
        <a:srgbClr val="FFFFFF"/>
      </a:lt2>
      <a:accent1>
        <a:srgbClr val="006643"/>
      </a:accent1>
      <a:accent2>
        <a:srgbClr val="D8D8D8"/>
      </a:accent2>
      <a:accent3>
        <a:srgbClr val="D12A48"/>
      </a:accent3>
      <a:accent4>
        <a:srgbClr val="006643"/>
      </a:accent4>
      <a:accent5>
        <a:srgbClr val="D8D8D8"/>
      </a:accent5>
      <a:accent6>
        <a:srgbClr val="D12A48"/>
      </a:accent6>
      <a:hlink>
        <a:srgbClr val="006643"/>
      </a:hlink>
      <a:folHlink>
        <a:srgbClr val="00C830"/>
      </a:folHlink>
    </a:clrScheme>
    <a:fontScheme name="Personalizzato 1">
      <a:majorFont>
        <a:latin typeface="Tahoma"/>
        <a:ea typeface="ＭＳ Ｐゴシック"/>
        <a:cs typeface=""/>
      </a:majorFont>
      <a:minorFont>
        <a:latin typeface="Tahom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ower-user-1ebad991-4025-41c5-a536-782b1ef3e520">
  <a:themeElements>
    <a:clrScheme name="PU_pastel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8CC8F4"/>
      </a:accent1>
      <a:accent2>
        <a:srgbClr val="81DEB3"/>
      </a:accent2>
      <a:accent3>
        <a:srgbClr val="F2A791"/>
      </a:accent3>
      <a:accent4>
        <a:srgbClr val="FFE292"/>
      </a:accent4>
      <a:accent5>
        <a:srgbClr val="AFB4F3"/>
      </a:accent5>
      <a:accent6>
        <a:srgbClr val="DFA2F2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-user" id="{A54D1E12-06FB-4C56-B9A2-5CDFDBAAC4F9}" vid="{A6DC06BC-0042-450D-8E4D-D79A79C963EF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owerUser>PuTemplatesExtension_2026-02-24 23_19_26.dll_26/02/2026 08:52:04</PowerUser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1e1b162-1c6d-4d0e-a328-f60e638a722e">
      <Terms xmlns="http://schemas.microsoft.com/office/infopath/2007/PartnerControls"/>
    </lcf76f155ced4ddcb4097134ff3c332f>
    <TaxCatchAll xmlns="b4a6ebc4-2842-43f3-a4f6-a79ce6d4f40f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3A265787A86448A05F338567224205" ma:contentTypeVersion="12" ma:contentTypeDescription="Create a new document." ma:contentTypeScope="" ma:versionID="2b79a1716d6f86fec0152cbd1f3f05f9">
  <xsd:schema xmlns:xsd="http://www.w3.org/2001/XMLSchema" xmlns:xs="http://www.w3.org/2001/XMLSchema" xmlns:p="http://schemas.microsoft.com/office/2006/metadata/properties" xmlns:ns2="d1e1b162-1c6d-4d0e-a328-f60e638a722e" xmlns:ns3="b4a6ebc4-2842-43f3-a4f6-a79ce6d4f40f" targetNamespace="http://schemas.microsoft.com/office/2006/metadata/properties" ma:root="true" ma:fieldsID="5866168eb6b0c82fa9c0700717bb3e9c" ns2:_="" ns3:_="">
    <xsd:import namespace="d1e1b162-1c6d-4d0e-a328-f60e638a722e"/>
    <xsd:import namespace="b4a6ebc4-2842-43f3-a4f6-a79ce6d4f40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BillingMetadata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e1b162-1c6d-4d0e-a328-f60e638a72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11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5e32e91-e282-4ae8-add1-730c2c70664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a6ebc4-2842-43f3-a4f6-a79ce6d4f40f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69e5858f-6138-4947-a9e1-ba89ca997f2a}" ma:internalName="TaxCatchAll" ma:showField="CatchAllData" ma:web="b4a6ebc4-2842-43f3-a4f6-a79ce6d4f4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F065C25-9D07-4880-9C09-09C0FCB63627}">
  <ds:schemaRefs/>
</ds:datastoreItem>
</file>

<file path=customXml/itemProps2.xml><?xml version="1.0" encoding="utf-8"?>
<ds:datastoreItem xmlns:ds="http://schemas.openxmlformats.org/officeDocument/2006/customXml" ds:itemID="{A524D01D-5863-40EA-9A68-5EA9F110C202}">
  <ds:schemaRefs>
    <ds:schemaRef ds:uri="3e9f75f1-cdb7-4bb7-94a1-ecaafa6c6624"/>
    <ds:schemaRef ds:uri="ef7d9a3e-8eaf-465f-903c-658d3d65b39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C87CA5D-849C-4ADD-8B85-7ED8852C2E2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BDB22C2-EB2A-4AFC-9953-3EA2114D32CC}"/>
</file>

<file path=docMetadata/LabelInfo.xml><?xml version="1.0" encoding="utf-8"?>
<clbl:labelList xmlns:clbl="http://schemas.microsoft.com/office/2020/mipLabelMetadata">
  <clbl:label id="{95653b52-df9b-47d2-8549-8de78ac04e21}" enabled="1" method="Standard" siteId="{deff24bb-2089-4400-8c8e-f71e680378b2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21</Slides>
  <Notes>16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Presentazione vuota</vt:lpstr>
      <vt:lpstr>Power-user-1ebad991-4025-41c5-a536-782b1ef3e520</vt:lpstr>
      <vt:lpstr>Verifiche di gestione basate sulla valutazione dei rischi</vt:lpstr>
      <vt:lpstr>Verifiche di gestione basate sulla valutazione dei rischi nella Programmazione 2021-2027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razie per l’attenzio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mento di valutazione dei criteri di designazione dell’Autorità di Audit– Programmazione 2014-2020</dc:title>
  <dc:creator>D'Urso Michele</dc:creator>
  <cp:revision>1</cp:revision>
  <cp:lastPrinted>2021-10-08T13:55:02Z</cp:lastPrinted>
  <dcterms:created xsi:type="dcterms:W3CDTF">2015-04-27T13:25:30Z</dcterms:created>
  <dcterms:modified xsi:type="dcterms:W3CDTF">2026-05-12T15:2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FA3A265787A86448A05F338567224205</vt:lpwstr>
  </property>
  <property fmtid="{D5CDD505-2E9C-101B-9397-08002B2CF9AE}" pid="4" name="_docset_NoMedatataSyncRequired">
    <vt:lpwstr>False</vt:lpwstr>
  </property>
</Properties>
</file>